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4.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1.xml" ContentType="application/vnd.openxmlformats-officedocument.presentationml.notesSlide+xml"/>
  <Override PartName="/ppt/tags/tag26.xml" ContentType="application/vnd.openxmlformats-officedocument.presentationml.tags+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7.xml" ContentType="application/vnd.openxmlformats-officedocument.presentationml.tags+xml"/>
  <Override PartName="/ppt/tags/tag28.xml" ContentType="application/vnd.openxmlformats-officedocument.presentationml.tags+xml"/>
  <Override PartName="/ppt/notesSlides/notesSlide1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9.xml" ContentType="application/vnd.openxmlformats-officedocument.presentationml.tags+xml"/>
  <Override PartName="/ppt/notesSlides/notesSlide1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30.xml" ContentType="application/vnd.openxmlformats-officedocument.presentationml.tags+xml"/>
  <Override PartName="/ppt/tags/tag31.xml" ContentType="application/vnd.openxmlformats-officedocument.presentationml.tags+xml"/>
  <Override PartName="/ppt/notesSlides/notesSlide1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32.xml" ContentType="application/vnd.openxmlformats-officedocument.presentationml.tags+xml"/>
  <Override PartName="/ppt/tags/tag33.xml" ContentType="application/vnd.openxmlformats-officedocument.presentationml.tags+xml"/>
  <Override PartName="/ppt/notesSlides/notesSlide1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34.xml" ContentType="application/vnd.openxmlformats-officedocument.presentationml.tags+xml"/>
  <Override PartName="/ppt/notesSlides/notesSlide1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35.xml" ContentType="application/vnd.openxmlformats-officedocument.presentationml.tags+xml"/>
  <Override PartName="/ppt/notesSlides/notesSlide1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36.xml" ContentType="application/vnd.openxmlformats-officedocument.presentationml.tags+xml"/>
  <Override PartName="/ppt/notesSlides/notesSlide19.xml" ContentType="application/vnd.openxmlformats-officedocument.presentationml.notesSlide+xml"/>
  <Override PartName="/ppt/tags/tag37.xml" ContentType="application/vnd.openxmlformats-officedocument.presentationml.tags+xml"/>
  <Override PartName="/ppt/notesSlides/notesSlide20.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40.xml" ContentType="application/vnd.openxmlformats-officedocument.presentationml.tags+xml"/>
  <Override PartName="/ppt/notesSlides/notesSlide22.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41.xml" ContentType="application/vnd.openxmlformats-officedocument.presentationml.tags+xml"/>
  <Override PartName="/ppt/tags/tag4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5.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6.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43.xml" ContentType="application/vnd.openxmlformats-officedocument.presentationml.tags+xml"/>
  <Override PartName="/ppt/notesSlides/notesSlide27.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44.xml" ContentType="application/vnd.openxmlformats-officedocument.presentationml.tags+xml"/>
  <Override PartName="/ppt/notesSlides/notesSlide28.xml" ContentType="application/vnd.openxmlformats-officedocument.presentationml.notesSlide+xml"/>
  <Override PartName="/ppt/tags/tag45.xml" ContentType="application/vnd.openxmlformats-officedocument.presentationml.tags+xml"/>
  <Override PartName="/ppt/notesSlides/notesSlide29.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0.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12"/>
    <p:sldMasterId id="2147483757" r:id="rId13"/>
    <p:sldMasterId id="2147483787" r:id="rId14"/>
    <p:sldMasterId id="2147483818" r:id="rId15"/>
    <p:sldMasterId id="2147483845" r:id="rId16"/>
  </p:sldMasterIdLst>
  <p:notesMasterIdLst>
    <p:notesMasterId r:id="rId53"/>
  </p:notesMasterIdLst>
  <p:handoutMasterIdLst>
    <p:handoutMasterId r:id="rId54"/>
  </p:handoutMasterIdLst>
  <p:sldIdLst>
    <p:sldId id="260" r:id="rId17"/>
    <p:sldId id="258" r:id="rId18"/>
    <p:sldId id="562" r:id="rId19"/>
    <p:sldId id="561" r:id="rId20"/>
    <p:sldId id="534" r:id="rId21"/>
    <p:sldId id="1469" r:id="rId22"/>
    <p:sldId id="1542" r:id="rId23"/>
    <p:sldId id="1477" r:id="rId24"/>
    <p:sldId id="1478" r:id="rId25"/>
    <p:sldId id="613" r:id="rId26"/>
    <p:sldId id="531" r:id="rId27"/>
    <p:sldId id="560" r:id="rId28"/>
    <p:sldId id="564" r:id="rId29"/>
    <p:sldId id="565" r:id="rId30"/>
    <p:sldId id="1496" r:id="rId31"/>
    <p:sldId id="1497" r:id="rId32"/>
    <p:sldId id="1500" r:id="rId33"/>
    <p:sldId id="1498" r:id="rId34"/>
    <p:sldId id="1501" r:id="rId35"/>
    <p:sldId id="512" r:id="rId36"/>
    <p:sldId id="1535" r:id="rId37"/>
    <p:sldId id="1550" r:id="rId38"/>
    <p:sldId id="1547" r:id="rId39"/>
    <p:sldId id="1504" r:id="rId40"/>
    <p:sldId id="1508" r:id="rId41"/>
    <p:sldId id="1551" r:id="rId42"/>
    <p:sldId id="272" r:id="rId43"/>
    <p:sldId id="1552" r:id="rId44"/>
    <p:sldId id="650" r:id="rId45"/>
    <p:sldId id="1567" r:id="rId46"/>
    <p:sldId id="1566" r:id="rId47"/>
    <p:sldId id="1506" r:id="rId48"/>
    <p:sldId id="1563" r:id="rId49"/>
    <p:sldId id="1568" r:id="rId50"/>
    <p:sldId id="621" r:id="rId51"/>
    <p:sldId id="259" r:id="rId52"/>
  </p:sldIdLst>
  <p:sldSz cx="12192000" cy="6858000"/>
  <p:notesSz cx="6858000" cy="9144000"/>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Lesson 1: Introduction to SQL Operating System" id="{25ADF4C8-2200-4410-9F45-B05F5BA6D4E6}">
          <p14:sldIdLst>
            <p14:sldId id="561"/>
            <p14:sldId id="534"/>
            <p14:sldId id="1469"/>
            <p14:sldId id="1542"/>
            <p14:sldId id="1477"/>
            <p14:sldId id="1478"/>
            <p14:sldId id="613"/>
            <p14:sldId id="531"/>
            <p14:sldId id="560"/>
          </p14:sldIdLst>
        </p14:section>
        <p14:section name="Lesson 2: Waits and Queues" id="{6F639A05-2893-48A9-A600-6681E43668C4}">
          <p14:sldIdLst>
            <p14:sldId id="564"/>
            <p14:sldId id="565"/>
            <p14:sldId id="1496"/>
            <p14:sldId id="1497"/>
            <p14:sldId id="1500"/>
            <p14:sldId id="1498"/>
            <p14:sldId id="1501"/>
            <p14:sldId id="512"/>
            <p14:sldId id="1535"/>
            <p14:sldId id="1550"/>
            <p14:sldId id="1547"/>
            <p14:sldId id="1504"/>
            <p14:sldId id="1508"/>
            <p14:sldId id="1551"/>
            <p14:sldId id="272"/>
          </p14:sldIdLst>
        </p14:section>
        <p14:section name="Lesson 3: SQL Server Disk I/O" id="{8AFBC36C-8D19-4969-97B6-FB59DF2E9269}">
          <p14:sldIdLst>
            <p14:sldId id="1552"/>
            <p14:sldId id="650"/>
            <p14:sldId id="1567"/>
            <p14:sldId id="1566"/>
            <p14:sldId id="1506"/>
            <p14:sldId id="1563"/>
            <p14:sldId id="1568"/>
            <p14:sldId id="621"/>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715F"/>
    <a:srgbClr val="296A8E"/>
    <a:srgbClr val="CBD6EF"/>
    <a:srgbClr val="91ABD5"/>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790D39-2AF2-4FE2-8F3C-98932C7C5456}" v="211" dt="2020-05-22T01:15:10.23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40322" autoAdjust="0"/>
    <p:restoredTop sz="60157" autoAdjust="0"/>
  </p:normalViewPr>
  <p:slideViewPr>
    <p:cSldViewPr snapToGrid="0">
      <p:cViewPr varScale="1">
        <p:scale>
          <a:sx n="50" d="100"/>
          <a:sy n="50" d="100"/>
        </p:scale>
        <p:origin x="286" y="29"/>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2.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tags" Target="tags/tag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Master" Target="slideMasters/slideMaster5.xml"/><Relationship Id="rId29" Type="http://schemas.openxmlformats.org/officeDocument/2006/relationships/slide" Target="slides/slide13.xml"/><Relationship Id="rId11" Type="http://schemas.openxmlformats.org/officeDocument/2006/relationships/customXml" Target="../customXml/item11.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customXml" Target="../customXml/item5.xml"/><Relationship Id="rId61" Type="http://schemas.microsoft.com/office/2016/11/relationships/changesInfo" Target="changesInfos/changesInfo1.xml"/><Relationship Id="rId19" Type="http://schemas.openxmlformats.org/officeDocument/2006/relationships/slide" Target="slides/slide3.xml"/><Relationship Id="rId14" Type="http://schemas.openxmlformats.org/officeDocument/2006/relationships/slideMaster" Target="slideMasters/slideMaster3.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commentAuthors" Target="commentAuthors.xml"/><Relationship Id="rId8" Type="http://schemas.openxmlformats.org/officeDocument/2006/relationships/customXml" Target="../customXml/item8.xml"/><Relationship Id="rId51" Type="http://schemas.openxmlformats.org/officeDocument/2006/relationships/slide" Target="slides/slide35.xml"/><Relationship Id="rId3" Type="http://schemas.openxmlformats.org/officeDocument/2006/relationships/customXml" Target="../customXml/item3.xml"/><Relationship Id="rId12" Type="http://schemas.openxmlformats.org/officeDocument/2006/relationships/slideMaster" Target="slideMasters/slideMaster1.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theme" Target="theme/theme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handoutMaster" Target="handoutMasters/handout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4.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presProps" Target="presProps.xml"/><Relationship Id="rId10" Type="http://schemas.openxmlformats.org/officeDocument/2006/relationships/customXml" Target="../customXml/item10.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ve Hord" userId="7478402321db30a2" providerId="LiveId" clId="{234EA3F1-EBE3-4B93-9E7D-1D1D8CD5814C}"/>
    <pc:docChg chg="undo modSld">
      <pc:chgData name="Steve Hord" userId="7478402321db30a2" providerId="LiveId" clId="{234EA3F1-EBE3-4B93-9E7D-1D1D8CD5814C}" dt="2020-04-15T21:31:02.622" v="94" actId="255"/>
      <pc:docMkLst>
        <pc:docMk/>
      </pc:docMkLst>
      <pc:sldChg chg="modSp modNotesTx">
        <pc:chgData name="Steve Hord" userId="7478402321db30a2" providerId="LiveId" clId="{234EA3F1-EBE3-4B93-9E7D-1D1D8CD5814C}" dt="2020-04-14T23:41:47.492" v="8" actId="20577"/>
        <pc:sldMkLst>
          <pc:docMk/>
          <pc:sldMk cId="3235270007" sldId="257"/>
        </pc:sldMkLst>
        <pc:spChg chg="mod">
          <ac:chgData name="Steve Hord" userId="7478402321db30a2" providerId="LiveId" clId="{234EA3F1-EBE3-4B93-9E7D-1D1D8CD5814C}" dt="2020-04-14T23:39:14.700" v="6" actId="20577"/>
          <ac:spMkLst>
            <pc:docMk/>
            <pc:sldMk cId="3235270007" sldId="257"/>
            <ac:spMk id="4" creationId="{F3616A99-090F-45E1-9334-58D58B148205}"/>
          </ac:spMkLst>
        </pc:spChg>
      </pc:sldChg>
      <pc:sldChg chg="modSp">
        <pc:chgData name="Steve Hord" userId="7478402321db30a2" providerId="LiveId" clId="{234EA3F1-EBE3-4B93-9E7D-1D1D8CD5814C}" dt="2020-04-14T23:35:37.807" v="3" actId="20577"/>
        <pc:sldMkLst>
          <pc:docMk/>
          <pc:sldMk cId="2621600474" sldId="534"/>
        </pc:sldMkLst>
        <pc:spChg chg="mod">
          <ac:chgData name="Steve Hord" userId="7478402321db30a2" providerId="LiveId" clId="{234EA3F1-EBE3-4B93-9E7D-1D1D8CD5814C}" dt="2020-04-14T23:35:37.807" v="3" actId="20577"/>
          <ac:spMkLst>
            <pc:docMk/>
            <pc:sldMk cId="2621600474" sldId="534"/>
            <ac:spMk id="5" creationId="{55182462-DFDF-4D48-A92C-42FD52821C4E}"/>
          </ac:spMkLst>
        </pc:spChg>
      </pc:sldChg>
      <pc:sldChg chg="modSp">
        <pc:chgData name="Steve Hord" userId="7478402321db30a2" providerId="LiveId" clId="{234EA3F1-EBE3-4B93-9E7D-1D1D8CD5814C}" dt="2020-04-14T23:52:31" v="15" actId="255"/>
        <pc:sldMkLst>
          <pc:docMk/>
          <pc:sldMk cId="2980146838" sldId="560"/>
        </pc:sldMkLst>
        <pc:spChg chg="mod">
          <ac:chgData name="Steve Hord" userId="7478402321db30a2" providerId="LiveId" clId="{234EA3F1-EBE3-4B93-9E7D-1D1D8CD5814C}" dt="2020-04-14T23:52:31" v="15" actId="255"/>
          <ac:spMkLst>
            <pc:docMk/>
            <pc:sldMk cId="2980146838" sldId="560"/>
            <ac:spMk id="2" creationId="{4615BB0C-211A-4A6B-A4FE-D9C725309C49}"/>
          </ac:spMkLst>
        </pc:spChg>
      </pc:sldChg>
      <pc:sldChg chg="modSp">
        <pc:chgData name="Steve Hord" userId="7478402321db30a2" providerId="LiveId" clId="{234EA3F1-EBE3-4B93-9E7D-1D1D8CD5814C}" dt="2020-04-14T23:55:16.541" v="16" actId="20577"/>
        <pc:sldMkLst>
          <pc:docMk/>
          <pc:sldMk cId="2034824179" sldId="565"/>
        </pc:sldMkLst>
        <pc:spChg chg="mod">
          <ac:chgData name="Steve Hord" userId="7478402321db30a2" providerId="LiveId" clId="{234EA3F1-EBE3-4B93-9E7D-1D1D8CD5814C}" dt="2020-04-14T23:55:16.541" v="16" actId="20577"/>
          <ac:spMkLst>
            <pc:docMk/>
            <pc:sldMk cId="2034824179" sldId="565"/>
            <ac:spMk id="5" creationId="{55182462-DFDF-4D48-A92C-42FD52821C4E}"/>
          </ac:spMkLst>
        </pc:spChg>
      </pc:sldChg>
      <pc:sldChg chg="modSp">
        <pc:chgData name="Steve Hord" userId="7478402321db30a2" providerId="LiveId" clId="{234EA3F1-EBE3-4B93-9E7D-1D1D8CD5814C}" dt="2020-04-15T17:44:48.001" v="41" actId="255"/>
        <pc:sldMkLst>
          <pc:docMk/>
          <pc:sldMk cId="1617064737" sldId="569"/>
        </pc:sldMkLst>
        <pc:spChg chg="mod">
          <ac:chgData name="Steve Hord" userId="7478402321db30a2" providerId="LiveId" clId="{234EA3F1-EBE3-4B93-9E7D-1D1D8CD5814C}" dt="2020-04-15T17:44:48.001" v="41" actId="255"/>
          <ac:spMkLst>
            <pc:docMk/>
            <pc:sldMk cId="1617064737" sldId="569"/>
            <ac:spMk id="2" creationId="{4615BB0C-211A-4A6B-A4FE-D9C725309C49}"/>
          </ac:spMkLst>
        </pc:spChg>
      </pc:sldChg>
      <pc:sldChg chg="modNotesTx">
        <pc:chgData name="Steve Hord" userId="7478402321db30a2" providerId="LiveId" clId="{234EA3F1-EBE3-4B93-9E7D-1D1D8CD5814C}" dt="2020-04-15T17:46:55.653" v="44" actId="20577"/>
        <pc:sldMkLst>
          <pc:docMk/>
          <pc:sldMk cId="2346840044" sldId="570"/>
        </pc:sldMkLst>
      </pc:sldChg>
      <pc:sldChg chg="modNotesTx">
        <pc:chgData name="Steve Hord" userId="7478402321db30a2" providerId="LiveId" clId="{234EA3F1-EBE3-4B93-9E7D-1D1D8CD5814C}" dt="2020-04-15T21:30:24.199" v="93" actId="20577"/>
        <pc:sldMkLst>
          <pc:docMk/>
          <pc:sldMk cId="1487953619" sldId="574"/>
        </pc:sldMkLst>
      </pc:sldChg>
      <pc:sldChg chg="modSp">
        <pc:chgData name="Steve Hord" userId="7478402321db30a2" providerId="LiveId" clId="{234EA3F1-EBE3-4B93-9E7D-1D1D8CD5814C}" dt="2020-04-15T21:31:02.622" v="94" actId="255"/>
        <pc:sldMkLst>
          <pc:docMk/>
          <pc:sldMk cId="1775931326" sldId="576"/>
        </pc:sldMkLst>
        <pc:spChg chg="mod">
          <ac:chgData name="Steve Hord" userId="7478402321db30a2" providerId="LiveId" clId="{234EA3F1-EBE3-4B93-9E7D-1D1D8CD5814C}" dt="2020-04-15T21:31:02.622" v="94" actId="255"/>
          <ac:spMkLst>
            <pc:docMk/>
            <pc:sldMk cId="1775931326" sldId="576"/>
            <ac:spMk id="2" creationId="{4615BB0C-211A-4A6B-A4FE-D9C725309C49}"/>
          </ac:spMkLst>
        </pc:spChg>
      </pc:sldChg>
      <pc:sldChg chg="modNotesTx">
        <pc:chgData name="Steve Hord" userId="7478402321db30a2" providerId="LiveId" clId="{234EA3F1-EBE3-4B93-9E7D-1D1D8CD5814C}" dt="2020-04-14T23:51:00.355" v="14" actId="20577"/>
        <pc:sldMkLst>
          <pc:docMk/>
          <pc:sldMk cId="3070814794" sldId="1469"/>
        </pc:sldMkLst>
      </pc:sldChg>
      <pc:sldChg chg="modNotesTx">
        <pc:chgData name="Steve Hord" userId="7478402321db30a2" providerId="LiveId" clId="{234EA3F1-EBE3-4B93-9E7D-1D1D8CD5814C}" dt="2020-04-15T00:01:33.019" v="20" actId="6549"/>
        <pc:sldMkLst>
          <pc:docMk/>
          <pc:sldMk cId="2554929962" sldId="1496"/>
        </pc:sldMkLst>
      </pc:sldChg>
      <pc:sldChg chg="modSp">
        <pc:chgData name="Steve Hord" userId="7478402321db30a2" providerId="LiveId" clId="{234EA3F1-EBE3-4B93-9E7D-1D1D8CD5814C}" dt="2020-04-15T00:06:19.271" v="26" actId="14100"/>
        <pc:sldMkLst>
          <pc:docMk/>
          <pc:sldMk cId="2558109578" sldId="1497"/>
        </pc:sldMkLst>
        <pc:spChg chg="mod">
          <ac:chgData name="Steve Hord" userId="7478402321db30a2" providerId="LiveId" clId="{234EA3F1-EBE3-4B93-9E7D-1D1D8CD5814C}" dt="2020-04-15T00:06:19.271" v="26" actId="14100"/>
          <ac:spMkLst>
            <pc:docMk/>
            <pc:sldMk cId="2558109578" sldId="1497"/>
            <ac:spMk id="8" creationId="{4079E5A1-77C8-4B74-B747-647B47141F0C}"/>
          </ac:spMkLst>
        </pc:spChg>
      </pc:sldChg>
      <pc:sldChg chg="modNotesTx">
        <pc:chgData name="Steve Hord" userId="7478402321db30a2" providerId="LiveId" clId="{234EA3F1-EBE3-4B93-9E7D-1D1D8CD5814C}" dt="2020-04-15T00:24:04.978" v="30" actId="6549"/>
        <pc:sldMkLst>
          <pc:docMk/>
          <pc:sldMk cId="2688822629" sldId="1498"/>
        </pc:sldMkLst>
      </pc:sldChg>
      <pc:sldChg chg="modSp modNotesTx">
        <pc:chgData name="Steve Hord" userId="7478402321db30a2" providerId="LiveId" clId="{234EA3F1-EBE3-4B93-9E7D-1D1D8CD5814C}" dt="2020-04-15T00:28:13.749" v="37" actId="20577"/>
        <pc:sldMkLst>
          <pc:docMk/>
          <pc:sldMk cId="4239965378" sldId="1500"/>
        </pc:sldMkLst>
        <pc:spChg chg="mod">
          <ac:chgData name="Steve Hord" userId="7478402321db30a2" providerId="LiveId" clId="{234EA3F1-EBE3-4B93-9E7D-1D1D8CD5814C}" dt="2020-04-15T00:25:39.803" v="32" actId="20577"/>
          <ac:spMkLst>
            <pc:docMk/>
            <pc:sldMk cId="4239965378" sldId="1500"/>
            <ac:spMk id="5" creationId="{00000000-0000-0000-0000-000000000000}"/>
          </ac:spMkLst>
        </pc:spChg>
        <pc:spChg chg="mod">
          <ac:chgData name="Steve Hord" userId="7478402321db30a2" providerId="LiveId" clId="{234EA3F1-EBE3-4B93-9E7D-1D1D8CD5814C}" dt="2020-04-15T00:25:47.410" v="34" actId="20577"/>
          <ac:spMkLst>
            <pc:docMk/>
            <pc:sldMk cId="4239965378" sldId="1500"/>
            <ac:spMk id="6" creationId="{00000000-0000-0000-0000-000000000000}"/>
          </ac:spMkLst>
        </pc:spChg>
      </pc:sldChg>
      <pc:sldChg chg="modSp modNotesTx">
        <pc:chgData name="Steve Hord" userId="7478402321db30a2" providerId="LiveId" clId="{234EA3F1-EBE3-4B93-9E7D-1D1D8CD5814C}" dt="2020-04-15T18:09:20.564" v="51" actId="6549"/>
        <pc:sldMkLst>
          <pc:docMk/>
          <pc:sldMk cId="283361127" sldId="1501"/>
        </pc:sldMkLst>
        <pc:spChg chg="mod">
          <ac:chgData name="Steve Hord" userId="7478402321db30a2" providerId="LiveId" clId="{234EA3F1-EBE3-4B93-9E7D-1D1D8CD5814C}" dt="2020-04-15T18:03:52.013" v="48" actId="20577"/>
          <ac:spMkLst>
            <pc:docMk/>
            <pc:sldMk cId="283361127" sldId="1501"/>
            <ac:spMk id="5" creationId="{00000000-0000-0000-0000-000000000000}"/>
          </ac:spMkLst>
        </pc:spChg>
      </pc:sldChg>
      <pc:sldChg chg="modSp">
        <pc:chgData name="Steve Hord" userId="7478402321db30a2" providerId="LiveId" clId="{234EA3F1-EBE3-4B93-9E7D-1D1D8CD5814C}" dt="2020-04-15T18:11:55.559" v="52" actId="20577"/>
        <pc:sldMkLst>
          <pc:docMk/>
          <pc:sldMk cId="2981336413" sldId="1504"/>
        </pc:sldMkLst>
        <pc:spChg chg="mod">
          <ac:chgData name="Steve Hord" userId="7478402321db30a2" providerId="LiveId" clId="{234EA3F1-EBE3-4B93-9E7D-1D1D8CD5814C}" dt="2020-04-15T18:11:55.559" v="52" actId="20577"/>
          <ac:spMkLst>
            <pc:docMk/>
            <pc:sldMk cId="2981336413" sldId="1504"/>
            <ac:spMk id="2" creationId="{00000000-0000-0000-0000-000000000000}"/>
          </ac:spMkLst>
        </pc:spChg>
      </pc:sldChg>
      <pc:sldChg chg="modSp">
        <pc:chgData name="Steve Hord" userId="7478402321db30a2" providerId="LiveId" clId="{234EA3F1-EBE3-4B93-9E7D-1D1D8CD5814C}" dt="2020-04-15T18:20:26.688" v="57" actId="20577"/>
        <pc:sldMkLst>
          <pc:docMk/>
          <pc:sldMk cId="287339966" sldId="1508"/>
        </pc:sldMkLst>
        <pc:graphicFrameChg chg="mod">
          <ac:chgData name="Steve Hord" userId="7478402321db30a2" providerId="LiveId" clId="{234EA3F1-EBE3-4B93-9E7D-1D1D8CD5814C}" dt="2020-04-15T18:20:26.688" v="57" actId="20577"/>
          <ac:graphicFrameMkLst>
            <pc:docMk/>
            <pc:sldMk cId="287339966" sldId="1508"/>
            <ac:graphicFrameMk id="5" creationId="{00000000-0000-0000-0000-000000000000}"/>
          </ac:graphicFrameMkLst>
        </pc:graphicFrameChg>
      </pc:sldChg>
      <pc:sldChg chg="modSp">
        <pc:chgData name="Steve Hord" userId="7478402321db30a2" providerId="LiveId" clId="{234EA3F1-EBE3-4B93-9E7D-1D1D8CD5814C}" dt="2020-04-15T18:23:44.827" v="62" actId="20577"/>
        <pc:sldMkLst>
          <pc:docMk/>
          <pc:sldMk cId="642886057" sldId="1510"/>
        </pc:sldMkLst>
        <pc:spChg chg="mod">
          <ac:chgData name="Steve Hord" userId="7478402321db30a2" providerId="LiveId" clId="{234EA3F1-EBE3-4B93-9E7D-1D1D8CD5814C}" dt="2020-04-15T18:23:44.827" v="62" actId="20577"/>
          <ac:spMkLst>
            <pc:docMk/>
            <pc:sldMk cId="642886057" sldId="1510"/>
            <ac:spMk id="6" creationId="{00000000-0000-0000-0000-000000000000}"/>
          </ac:spMkLst>
        </pc:spChg>
      </pc:sldChg>
      <pc:sldChg chg="modSp modNotesTx">
        <pc:chgData name="Steve Hord" userId="7478402321db30a2" providerId="LiveId" clId="{234EA3F1-EBE3-4B93-9E7D-1D1D8CD5814C}" dt="2020-04-15T18:32:45.584" v="68" actId="20577"/>
        <pc:sldMkLst>
          <pc:docMk/>
          <pc:sldMk cId="3718892951" sldId="1512"/>
        </pc:sldMkLst>
        <pc:graphicFrameChg chg="mod">
          <ac:chgData name="Steve Hord" userId="7478402321db30a2" providerId="LiveId" clId="{234EA3F1-EBE3-4B93-9E7D-1D1D8CD5814C}" dt="2020-04-15T18:31:13.226" v="67" actId="20577"/>
          <ac:graphicFrameMkLst>
            <pc:docMk/>
            <pc:sldMk cId="3718892951" sldId="1512"/>
            <ac:graphicFrameMk id="8" creationId="{00000000-0000-0000-0000-000000000000}"/>
          </ac:graphicFrameMkLst>
        </pc:graphicFrameChg>
      </pc:sldChg>
      <pc:sldChg chg="modSp">
        <pc:chgData name="Steve Hord" userId="7478402321db30a2" providerId="LiveId" clId="{234EA3F1-EBE3-4B93-9E7D-1D1D8CD5814C}" dt="2020-04-15T18:35:05.062" v="69" actId="255"/>
        <pc:sldMkLst>
          <pc:docMk/>
          <pc:sldMk cId="1249006586" sldId="1513"/>
        </pc:sldMkLst>
        <pc:graphicFrameChg chg="mod">
          <ac:chgData name="Steve Hord" userId="7478402321db30a2" providerId="LiveId" clId="{234EA3F1-EBE3-4B93-9E7D-1D1D8CD5814C}" dt="2020-04-15T18:35:05.062" v="69" actId="255"/>
          <ac:graphicFrameMkLst>
            <pc:docMk/>
            <pc:sldMk cId="1249006586" sldId="1513"/>
            <ac:graphicFrameMk id="8" creationId="{00000000-0000-0000-0000-000000000000}"/>
          </ac:graphicFrameMkLst>
        </pc:graphicFrameChg>
      </pc:sldChg>
      <pc:sldChg chg="modSp">
        <pc:chgData name="Steve Hord" userId="7478402321db30a2" providerId="LiveId" clId="{234EA3F1-EBE3-4B93-9E7D-1D1D8CD5814C}" dt="2020-04-15T18:42:33.121" v="82" actId="20577"/>
        <pc:sldMkLst>
          <pc:docMk/>
          <pc:sldMk cId="677637481" sldId="1514"/>
        </pc:sldMkLst>
        <pc:spChg chg="mod">
          <ac:chgData name="Steve Hord" userId="7478402321db30a2" providerId="LiveId" clId="{234EA3F1-EBE3-4B93-9E7D-1D1D8CD5814C}" dt="2020-04-15T18:41:58.965" v="77" actId="255"/>
          <ac:spMkLst>
            <pc:docMk/>
            <pc:sldMk cId="677637481" sldId="1514"/>
            <ac:spMk id="4" creationId="{AF01F6FC-E052-488D-9401-0F977342CB22}"/>
          </ac:spMkLst>
        </pc:spChg>
        <pc:graphicFrameChg chg="mod">
          <ac:chgData name="Steve Hord" userId="7478402321db30a2" providerId="LiveId" clId="{234EA3F1-EBE3-4B93-9E7D-1D1D8CD5814C}" dt="2020-04-15T18:42:33.121" v="82" actId="20577"/>
          <ac:graphicFrameMkLst>
            <pc:docMk/>
            <pc:sldMk cId="677637481" sldId="1514"/>
            <ac:graphicFrameMk id="7" creationId="{00000000-0000-0000-0000-000000000000}"/>
          </ac:graphicFrameMkLst>
        </pc:graphicFrameChg>
      </pc:sldChg>
      <pc:sldChg chg="modSp">
        <pc:chgData name="Steve Hord" userId="7478402321db30a2" providerId="LiveId" clId="{234EA3F1-EBE3-4B93-9E7D-1D1D8CD5814C}" dt="2020-04-15T18:39:29.132" v="75" actId="20577"/>
        <pc:sldMkLst>
          <pc:docMk/>
          <pc:sldMk cId="2772002599" sldId="1515"/>
        </pc:sldMkLst>
        <pc:graphicFrameChg chg="mod">
          <ac:chgData name="Steve Hord" userId="7478402321db30a2" providerId="LiveId" clId="{234EA3F1-EBE3-4B93-9E7D-1D1D8CD5814C}" dt="2020-04-15T18:39:29.132" v="75" actId="20577"/>
          <ac:graphicFrameMkLst>
            <pc:docMk/>
            <pc:sldMk cId="2772002599" sldId="1515"/>
            <ac:graphicFrameMk id="5" creationId="{00000000-0000-0000-0000-000000000000}"/>
          </ac:graphicFrameMkLst>
        </pc:graphicFrameChg>
      </pc:sldChg>
      <pc:sldChg chg="modSp">
        <pc:chgData name="Steve Hord" userId="7478402321db30a2" providerId="LiveId" clId="{234EA3F1-EBE3-4B93-9E7D-1D1D8CD5814C}" dt="2020-04-15T00:29:02.660" v="40" actId="20577"/>
        <pc:sldMkLst>
          <pc:docMk/>
          <pc:sldMk cId="1708757965" sldId="1535"/>
        </pc:sldMkLst>
        <pc:spChg chg="mod">
          <ac:chgData name="Steve Hord" userId="7478402321db30a2" providerId="LiveId" clId="{234EA3F1-EBE3-4B93-9E7D-1D1D8CD5814C}" dt="2020-04-15T00:29:02.660" v="40" actId="20577"/>
          <ac:spMkLst>
            <pc:docMk/>
            <pc:sldMk cId="1708757965" sldId="1535"/>
            <ac:spMk id="8" creationId="{00000000-0000-0000-0000-000000000000}"/>
          </ac:spMkLst>
        </pc:spChg>
      </pc:sldChg>
      <pc:sldChg chg="modSp">
        <pc:chgData name="Steve Hord" userId="7478402321db30a2" providerId="LiveId" clId="{234EA3F1-EBE3-4B93-9E7D-1D1D8CD5814C}" dt="2020-04-15T18:22:20.630" v="59" actId="20577"/>
        <pc:sldMkLst>
          <pc:docMk/>
          <pc:sldMk cId="3418559531" sldId="1538"/>
        </pc:sldMkLst>
        <pc:graphicFrameChg chg="mod">
          <ac:chgData name="Steve Hord" userId="7478402321db30a2" providerId="LiveId" clId="{234EA3F1-EBE3-4B93-9E7D-1D1D8CD5814C}" dt="2020-04-15T18:22:20.630" v="59" actId="20577"/>
          <ac:graphicFrameMkLst>
            <pc:docMk/>
            <pc:sldMk cId="3418559531" sldId="1538"/>
            <ac:graphicFrameMk id="8" creationId="{EAD54B84-9620-4797-9496-ED729535AFF1}"/>
          </ac:graphicFrameMkLst>
        </pc:graphicFrameChg>
      </pc:sldChg>
      <pc:sldChg chg="modNotesTx">
        <pc:chgData name="Steve Hord" userId="7478402321db30a2" providerId="LiveId" clId="{234EA3F1-EBE3-4B93-9E7D-1D1D8CD5814C}" dt="2020-04-15T19:08:45.877" v="85" actId="6549"/>
        <pc:sldMkLst>
          <pc:docMk/>
          <pc:sldMk cId="489403270" sldId="1544"/>
        </pc:sldMkLst>
      </pc:sldChg>
      <pc:sldChg chg="modSp modNotesTx">
        <pc:chgData name="Steve Hord" userId="7478402321db30a2" providerId="LiveId" clId="{234EA3F1-EBE3-4B93-9E7D-1D1D8CD5814C}" dt="2020-04-15T19:10:53.457" v="92" actId="113"/>
        <pc:sldMkLst>
          <pc:docMk/>
          <pc:sldMk cId="1399968532" sldId="1546"/>
        </pc:sldMkLst>
        <pc:spChg chg="mod">
          <ac:chgData name="Steve Hord" userId="7478402321db30a2" providerId="LiveId" clId="{234EA3F1-EBE3-4B93-9E7D-1D1D8CD5814C}" dt="2020-04-15T19:10:00.367" v="90" actId="20577"/>
          <ac:spMkLst>
            <pc:docMk/>
            <pc:sldMk cId="1399968532" sldId="1546"/>
            <ac:spMk id="6" creationId="{00000000-0000-0000-0000-000000000000}"/>
          </ac:spMkLst>
        </pc:spChg>
      </pc:sldChg>
    </pc:docChg>
  </pc:docChgLst>
  <pc:docChgLst>
    <pc:chgData name="Batuhan Yildiz" userId="90f344fc-4655-4923-aeaf-697bba59c1a7" providerId="ADAL" clId="{FB63255F-0871-4863-B5A6-FEDECFBACF45}"/>
    <pc:docChg chg="custSel modSld modMainMaster">
      <pc:chgData name="Batuhan Yildiz" userId="90f344fc-4655-4923-aeaf-697bba59c1a7" providerId="ADAL" clId="{FB63255F-0871-4863-B5A6-FEDECFBACF45}" dt="2020-04-10T08:24:59.435" v="71" actId="478"/>
      <pc:docMkLst>
        <pc:docMk/>
      </pc:docMkLst>
      <pc:sldChg chg="modNotesTx">
        <pc:chgData name="Batuhan Yildiz" userId="90f344fc-4655-4923-aeaf-697bba59c1a7" providerId="ADAL" clId="{FB63255F-0871-4863-B5A6-FEDECFBACF45}" dt="2020-04-06T15:12:43.511" v="52" actId="20577"/>
        <pc:sldMkLst>
          <pc:docMk/>
          <pc:sldMk cId="4267675391" sldId="531"/>
        </pc:sldMkLst>
      </pc:sldChg>
      <pc:sldChg chg="modNotesTx">
        <pc:chgData name="Batuhan Yildiz" userId="90f344fc-4655-4923-aeaf-697bba59c1a7" providerId="ADAL" clId="{FB63255F-0871-4863-B5A6-FEDECFBACF45}" dt="2020-04-06T15:12:33.339" v="49" actId="20577"/>
        <pc:sldMkLst>
          <pc:docMk/>
          <pc:sldMk cId="670385602" sldId="567"/>
        </pc:sldMkLst>
      </pc:sldChg>
      <pc:sldChg chg="modNotesTx">
        <pc:chgData name="Batuhan Yildiz" userId="90f344fc-4655-4923-aeaf-697bba59c1a7" providerId="ADAL" clId="{FB63255F-0871-4863-B5A6-FEDECFBACF45}" dt="2020-04-06T15:12:08.517" v="46"/>
        <pc:sldMkLst>
          <pc:docMk/>
          <pc:sldMk cId="1487953619" sldId="574"/>
        </pc:sldMkLst>
      </pc:sldChg>
      <pc:sldChg chg="modNotesTx">
        <pc:chgData name="Batuhan Yildiz" userId="90f344fc-4655-4923-aeaf-697bba59c1a7" providerId="ADAL" clId="{FB63255F-0871-4863-B5A6-FEDECFBACF45}" dt="2020-04-06T15:12:59.965" v="63" actId="20577"/>
        <pc:sldMkLst>
          <pc:docMk/>
          <pc:sldMk cId="3563492871" sldId="575"/>
        </pc:sldMkLst>
      </pc:sldChg>
      <pc:sldChg chg="delSp mod">
        <pc:chgData name="Batuhan Yildiz" userId="90f344fc-4655-4923-aeaf-697bba59c1a7" providerId="ADAL" clId="{FB63255F-0871-4863-B5A6-FEDECFBACF45}" dt="2020-04-10T08:23:30.688" v="64" actId="478"/>
        <pc:sldMkLst>
          <pc:docMk/>
          <pc:sldMk cId="3070814794" sldId="1469"/>
        </pc:sldMkLst>
        <pc:spChg chg="del">
          <ac:chgData name="Batuhan Yildiz" userId="90f344fc-4655-4923-aeaf-697bba59c1a7" providerId="ADAL" clId="{FB63255F-0871-4863-B5A6-FEDECFBACF45}" dt="2020-04-10T08:23:30.688" v="64" actId="478"/>
          <ac:spMkLst>
            <pc:docMk/>
            <pc:sldMk cId="3070814794" sldId="1469"/>
            <ac:spMk id="47" creationId="{00000000-0000-0000-0000-000000000000}"/>
          </ac:spMkLst>
        </pc:spChg>
      </pc:sldChg>
      <pc:sldChg chg="delSp mod">
        <pc:chgData name="Batuhan Yildiz" userId="90f344fc-4655-4923-aeaf-697bba59c1a7" providerId="ADAL" clId="{FB63255F-0871-4863-B5A6-FEDECFBACF45}" dt="2020-04-10T08:23:42.481" v="65" actId="478"/>
        <pc:sldMkLst>
          <pc:docMk/>
          <pc:sldMk cId="2554929962" sldId="1496"/>
        </pc:sldMkLst>
        <pc:spChg chg="del">
          <ac:chgData name="Batuhan Yildiz" userId="90f344fc-4655-4923-aeaf-697bba59c1a7" providerId="ADAL" clId="{FB63255F-0871-4863-B5A6-FEDECFBACF45}" dt="2020-04-10T08:23:42.481" v="65" actId="478"/>
          <ac:spMkLst>
            <pc:docMk/>
            <pc:sldMk cId="2554929962" sldId="1496"/>
            <ac:spMk id="6" creationId="{00000000-0000-0000-0000-000000000000}"/>
          </ac:spMkLst>
        </pc:spChg>
      </pc:sldChg>
      <pc:sldChg chg="delSp mod">
        <pc:chgData name="Batuhan Yildiz" userId="90f344fc-4655-4923-aeaf-697bba59c1a7" providerId="ADAL" clId="{FB63255F-0871-4863-B5A6-FEDECFBACF45}" dt="2020-04-10T08:23:49.591" v="66" actId="478"/>
        <pc:sldMkLst>
          <pc:docMk/>
          <pc:sldMk cId="2558109578" sldId="1497"/>
        </pc:sldMkLst>
        <pc:spChg chg="del">
          <ac:chgData name="Batuhan Yildiz" userId="90f344fc-4655-4923-aeaf-697bba59c1a7" providerId="ADAL" clId="{FB63255F-0871-4863-B5A6-FEDECFBACF45}" dt="2020-04-10T08:23:49.591" v="66" actId="478"/>
          <ac:spMkLst>
            <pc:docMk/>
            <pc:sldMk cId="2558109578" sldId="1497"/>
            <ac:spMk id="5" creationId="{00000000-0000-0000-0000-000000000000}"/>
          </ac:spMkLst>
        </pc:spChg>
      </pc:sldChg>
      <pc:sldChg chg="delSp mod">
        <pc:chgData name="Batuhan Yildiz" userId="90f344fc-4655-4923-aeaf-697bba59c1a7" providerId="ADAL" clId="{FB63255F-0871-4863-B5A6-FEDECFBACF45}" dt="2020-04-10T08:23:52.890" v="67" actId="478"/>
        <pc:sldMkLst>
          <pc:docMk/>
          <pc:sldMk cId="2688822629" sldId="1498"/>
        </pc:sldMkLst>
        <pc:spChg chg="del">
          <ac:chgData name="Batuhan Yildiz" userId="90f344fc-4655-4923-aeaf-697bba59c1a7" providerId="ADAL" clId="{FB63255F-0871-4863-B5A6-FEDECFBACF45}" dt="2020-04-10T08:23:52.890" v="67" actId="478"/>
          <ac:spMkLst>
            <pc:docMk/>
            <pc:sldMk cId="2688822629" sldId="1498"/>
            <ac:spMk id="4" creationId="{00000000-0000-0000-0000-000000000000}"/>
          </ac:spMkLst>
        </pc:spChg>
      </pc:sldChg>
      <pc:sldChg chg="delSp mod">
        <pc:chgData name="Batuhan Yildiz" userId="90f344fc-4655-4923-aeaf-697bba59c1a7" providerId="ADAL" clId="{FB63255F-0871-4863-B5A6-FEDECFBACF45}" dt="2020-04-10T08:24:32.915" v="69" actId="478"/>
        <pc:sldMkLst>
          <pc:docMk/>
          <pc:sldMk cId="1708757965" sldId="1535"/>
        </pc:sldMkLst>
        <pc:spChg chg="del">
          <ac:chgData name="Batuhan Yildiz" userId="90f344fc-4655-4923-aeaf-697bba59c1a7" providerId="ADAL" clId="{FB63255F-0871-4863-B5A6-FEDECFBACF45}" dt="2020-04-10T08:24:32.915" v="69" actId="478"/>
          <ac:spMkLst>
            <pc:docMk/>
            <pc:sldMk cId="1708757965" sldId="1535"/>
            <ac:spMk id="4" creationId="{00000000-0000-0000-0000-000000000000}"/>
          </ac:spMkLst>
        </pc:spChg>
      </pc:sldChg>
      <pc:sldChg chg="delSp mod">
        <pc:chgData name="Batuhan Yildiz" userId="90f344fc-4655-4923-aeaf-697bba59c1a7" providerId="ADAL" clId="{FB63255F-0871-4863-B5A6-FEDECFBACF45}" dt="2020-04-10T08:24:37.098" v="70" actId="478"/>
        <pc:sldMkLst>
          <pc:docMk/>
          <pc:sldMk cId="3007240879" sldId="1536"/>
        </pc:sldMkLst>
        <pc:spChg chg="del">
          <ac:chgData name="Batuhan Yildiz" userId="90f344fc-4655-4923-aeaf-697bba59c1a7" providerId="ADAL" clId="{FB63255F-0871-4863-B5A6-FEDECFBACF45}" dt="2020-04-10T08:24:37.098" v="70" actId="478"/>
          <ac:spMkLst>
            <pc:docMk/>
            <pc:sldMk cId="3007240879" sldId="1536"/>
            <ac:spMk id="4" creationId="{00000000-0000-0000-0000-000000000000}"/>
          </ac:spMkLst>
        </pc:spChg>
      </pc:sldChg>
      <pc:sldMasterChg chg="modSldLayout">
        <pc:chgData name="Batuhan Yildiz" userId="90f344fc-4655-4923-aeaf-697bba59c1a7" providerId="ADAL" clId="{FB63255F-0871-4863-B5A6-FEDECFBACF45}" dt="2020-04-10T08:24:59.435" v="71" actId="478"/>
        <pc:sldMasterMkLst>
          <pc:docMk/>
          <pc:sldMasterMk cId="1044402230" sldId="2147483706"/>
        </pc:sldMasterMkLst>
        <pc:sldLayoutChg chg="delSp mod">
          <pc:chgData name="Batuhan Yildiz" userId="90f344fc-4655-4923-aeaf-697bba59c1a7" providerId="ADAL" clId="{FB63255F-0871-4863-B5A6-FEDECFBACF45}" dt="2020-04-10T08:24:26.080" v="68" actId="478"/>
          <pc:sldLayoutMkLst>
            <pc:docMk/>
            <pc:sldMasterMk cId="1044402230" sldId="2147483706"/>
            <pc:sldLayoutMk cId="1898413405" sldId="2147483755"/>
          </pc:sldLayoutMkLst>
          <pc:spChg chg="del">
            <ac:chgData name="Batuhan Yildiz" userId="90f344fc-4655-4923-aeaf-697bba59c1a7" providerId="ADAL" clId="{FB63255F-0871-4863-B5A6-FEDECFBACF45}" dt="2020-04-10T08:24:26.080" v="68" actId="478"/>
            <ac:spMkLst>
              <pc:docMk/>
              <pc:sldMasterMk cId="1044402230" sldId="2147483706"/>
              <pc:sldLayoutMk cId="1898413405" sldId="2147483755"/>
              <ac:spMk id="6" creationId="{00000000-0000-0000-0000-000000000000}"/>
            </ac:spMkLst>
          </pc:spChg>
        </pc:sldLayoutChg>
        <pc:sldLayoutChg chg="delSp mod">
          <pc:chgData name="Batuhan Yildiz" userId="90f344fc-4655-4923-aeaf-697bba59c1a7" providerId="ADAL" clId="{FB63255F-0871-4863-B5A6-FEDECFBACF45}" dt="2020-04-10T08:24:59.435" v="71" actId="478"/>
          <pc:sldLayoutMkLst>
            <pc:docMk/>
            <pc:sldMasterMk cId="1044402230" sldId="2147483706"/>
            <pc:sldLayoutMk cId="640723679" sldId="2147483756"/>
          </pc:sldLayoutMkLst>
          <pc:spChg chg="del">
            <ac:chgData name="Batuhan Yildiz" userId="90f344fc-4655-4923-aeaf-697bba59c1a7" providerId="ADAL" clId="{FB63255F-0871-4863-B5A6-FEDECFBACF45}" dt="2020-04-10T08:24:59.435" v="71" actId="478"/>
            <ac:spMkLst>
              <pc:docMk/>
              <pc:sldMasterMk cId="1044402230" sldId="2147483706"/>
              <pc:sldLayoutMk cId="640723679" sldId="2147483756"/>
              <ac:spMk id="6" creationId="{00000000-0000-0000-0000-000000000000}"/>
            </ac:spMkLst>
          </pc:spChg>
        </pc:sldLayoutChg>
      </pc:sldMasterChg>
    </pc:docChg>
  </pc:docChgLst>
  <pc:docChgLst>
    <pc:chgData name="Sam Mesel" userId="1ee7badb-5d1f-4872-89ae-dcf7b71f276a" providerId="ADAL" clId="{563D96B1-E779-4B81-8AF8-D6D92036B318}"/>
    <pc:docChg chg="undo custSel modSld">
      <pc:chgData name="Sam Mesel" userId="1ee7badb-5d1f-4872-89ae-dcf7b71f276a" providerId="ADAL" clId="{563D96B1-E779-4B81-8AF8-D6D92036B318}" dt="2020-04-02T22:26:37.839" v="82" actId="20577"/>
      <pc:docMkLst>
        <pc:docMk/>
      </pc:docMkLst>
      <pc:sldChg chg="modSp mod">
        <pc:chgData name="Sam Mesel" userId="1ee7badb-5d1f-4872-89ae-dcf7b71f276a" providerId="ADAL" clId="{563D96B1-E779-4B81-8AF8-D6D92036B318}" dt="2020-03-20T19:51:51.457" v="17" actId="108"/>
        <pc:sldMkLst>
          <pc:docMk/>
          <pc:sldMk cId="4267675391" sldId="531"/>
        </pc:sldMkLst>
        <pc:spChg chg="mod">
          <ac:chgData name="Sam Mesel" userId="1ee7badb-5d1f-4872-89ae-dcf7b71f276a" providerId="ADAL" clId="{563D96B1-E779-4B81-8AF8-D6D92036B318}" dt="2020-03-20T19:51:51.457" v="17" actId="108"/>
          <ac:spMkLst>
            <pc:docMk/>
            <pc:sldMk cId="4267675391" sldId="531"/>
            <ac:spMk id="6" creationId="{637E159C-9ACF-48AE-927A-D5FB13695C7F}"/>
          </ac:spMkLst>
        </pc:spChg>
      </pc:sldChg>
      <pc:sldChg chg="modSp mod">
        <pc:chgData name="Sam Mesel" userId="1ee7badb-5d1f-4872-89ae-dcf7b71f276a" providerId="ADAL" clId="{563D96B1-E779-4B81-8AF8-D6D92036B318}" dt="2020-03-20T19:52:03.996" v="19" actId="108"/>
        <pc:sldMkLst>
          <pc:docMk/>
          <pc:sldMk cId="670385602" sldId="567"/>
        </pc:sldMkLst>
        <pc:spChg chg="mod">
          <ac:chgData name="Sam Mesel" userId="1ee7badb-5d1f-4872-89ae-dcf7b71f276a" providerId="ADAL" clId="{563D96B1-E779-4B81-8AF8-D6D92036B318}" dt="2020-03-20T19:52:03.996" v="19" actId="108"/>
          <ac:spMkLst>
            <pc:docMk/>
            <pc:sldMk cId="670385602" sldId="567"/>
            <ac:spMk id="6" creationId="{637E159C-9ACF-48AE-927A-D5FB13695C7F}"/>
          </ac:spMkLst>
        </pc:spChg>
      </pc:sldChg>
      <pc:sldChg chg="modSp mod modNotesTx">
        <pc:chgData name="Sam Mesel" userId="1ee7badb-5d1f-4872-89ae-dcf7b71f276a" providerId="ADAL" clId="{563D96B1-E779-4B81-8AF8-D6D92036B318}" dt="2020-04-02T22:26:37.839" v="82" actId="20577"/>
        <pc:sldMkLst>
          <pc:docMk/>
          <pc:sldMk cId="1487953619" sldId="574"/>
        </pc:sldMkLst>
        <pc:spChg chg="mod">
          <ac:chgData name="Sam Mesel" userId="1ee7badb-5d1f-4872-89ae-dcf7b71f276a" providerId="ADAL" clId="{563D96B1-E779-4B81-8AF8-D6D92036B318}" dt="2020-04-02T22:22:00.976" v="30" actId="20577"/>
          <ac:spMkLst>
            <pc:docMk/>
            <pc:sldMk cId="1487953619" sldId="574"/>
            <ac:spMk id="6" creationId="{637E159C-9ACF-48AE-927A-D5FB13695C7F}"/>
          </ac:spMkLst>
        </pc:spChg>
      </pc:sldChg>
      <pc:sldChg chg="modSp mod">
        <pc:chgData name="Sam Mesel" userId="1ee7badb-5d1f-4872-89ae-dcf7b71f276a" providerId="ADAL" clId="{563D96B1-E779-4B81-8AF8-D6D92036B318}" dt="2020-03-20T19:51:11.531" v="15" actId="20577"/>
        <pc:sldMkLst>
          <pc:docMk/>
          <pc:sldMk cId="3563492871" sldId="575"/>
        </pc:sldMkLst>
        <pc:spChg chg="mod">
          <ac:chgData name="Sam Mesel" userId="1ee7badb-5d1f-4872-89ae-dcf7b71f276a" providerId="ADAL" clId="{563D96B1-E779-4B81-8AF8-D6D92036B318}" dt="2020-03-20T19:19:10.159" v="9" actId="108"/>
          <ac:spMkLst>
            <pc:docMk/>
            <pc:sldMk cId="3563492871" sldId="575"/>
            <ac:spMk id="2" creationId="{BC57B38C-8413-4861-A4F5-7DF656AEAD0D}"/>
          </ac:spMkLst>
        </pc:spChg>
        <pc:spChg chg="mod">
          <ac:chgData name="Sam Mesel" userId="1ee7badb-5d1f-4872-89ae-dcf7b71f276a" providerId="ADAL" clId="{563D96B1-E779-4B81-8AF8-D6D92036B318}" dt="2020-03-20T19:51:11.531" v="15" actId="20577"/>
          <ac:spMkLst>
            <pc:docMk/>
            <pc:sldMk cId="3563492871" sldId="575"/>
            <ac:spMk id="3" creationId="{4897B8F8-26DF-42FB-ACB0-59929F1C2344}"/>
          </ac:spMkLst>
        </pc:spChg>
      </pc:sldChg>
    </pc:docChg>
  </pc:docChgLst>
  <pc:docChgLst>
    <pc:chgData name="Sam Mesel" userId="1ee7badb-5d1f-4872-89ae-dcf7b71f276a" providerId="ADAL" clId="{E8F0D672-538F-4445-A6D1-D27ACC21A983}"/>
    <pc:docChg chg="undo custSel addSld delSld modSld modSection">
      <pc:chgData name="Sam Mesel" userId="1ee7badb-5d1f-4872-89ae-dcf7b71f276a" providerId="ADAL" clId="{E8F0D672-538F-4445-A6D1-D27ACC21A983}" dt="2020-03-03T22:07:28.808" v="1943" actId="1036"/>
      <pc:docMkLst>
        <pc:docMk/>
      </pc:docMkLst>
      <pc:sldChg chg="modSp mod">
        <pc:chgData name="Sam Mesel" userId="1ee7badb-5d1f-4872-89ae-dcf7b71f276a" providerId="ADAL" clId="{E8F0D672-538F-4445-A6D1-D27ACC21A983}" dt="2020-03-03T19:36:06.642" v="1918" actId="20577"/>
        <pc:sldMkLst>
          <pc:docMk/>
          <pc:sldMk cId="2314306782" sldId="572"/>
        </pc:sldMkLst>
        <pc:spChg chg="mod">
          <ac:chgData name="Sam Mesel" userId="1ee7badb-5d1f-4872-89ae-dcf7b71f276a" providerId="ADAL" clId="{E8F0D672-538F-4445-A6D1-D27ACC21A983}" dt="2020-03-03T19:36:06.642" v="1918" actId="20577"/>
          <ac:spMkLst>
            <pc:docMk/>
            <pc:sldMk cId="2314306782" sldId="572"/>
            <ac:spMk id="5" creationId="{55182462-DFDF-4D48-A92C-42FD52821C4E}"/>
          </ac:spMkLst>
        </pc:spChg>
      </pc:sldChg>
      <pc:sldChg chg="addSp delSp modSp mod modAnim">
        <pc:chgData name="Sam Mesel" userId="1ee7badb-5d1f-4872-89ae-dcf7b71f276a" providerId="ADAL" clId="{E8F0D672-538F-4445-A6D1-D27ACC21A983}" dt="2020-03-02T15:16:46.355" v="58"/>
        <pc:sldMkLst>
          <pc:docMk/>
          <pc:sldMk cId="3070814794" sldId="1469"/>
        </pc:sldMkLst>
        <pc:spChg chg="add del mod">
          <ac:chgData name="Sam Mesel" userId="1ee7badb-5d1f-4872-89ae-dcf7b71f276a" providerId="ADAL" clId="{E8F0D672-538F-4445-A6D1-D27ACC21A983}" dt="2020-03-02T15:13:44.265" v="41" actId="478"/>
          <ac:spMkLst>
            <pc:docMk/>
            <pc:sldMk cId="3070814794" sldId="1469"/>
            <ac:spMk id="2" creationId="{853054EB-DAA7-498C-857D-949837F57134}"/>
          </ac:spMkLst>
        </pc:spChg>
        <pc:spChg chg="add mod">
          <ac:chgData name="Sam Mesel" userId="1ee7badb-5d1f-4872-89ae-dcf7b71f276a" providerId="ADAL" clId="{E8F0D672-538F-4445-A6D1-D27ACC21A983}" dt="2020-03-02T15:13:20.951" v="37" actId="207"/>
          <ac:spMkLst>
            <pc:docMk/>
            <pc:sldMk cId="3070814794" sldId="1469"/>
            <ac:spMk id="3" creationId="{853C5D5E-3614-42C3-81BF-1E94044ADFBC}"/>
          </ac:spMkLst>
        </pc:spChg>
        <pc:spChg chg="add mod">
          <ac:chgData name="Sam Mesel" userId="1ee7badb-5d1f-4872-89ae-dcf7b71f276a" providerId="ADAL" clId="{E8F0D672-538F-4445-A6D1-D27ACC21A983}" dt="2020-03-02T15:14:14.643" v="45" actId="207"/>
          <ac:spMkLst>
            <pc:docMk/>
            <pc:sldMk cId="3070814794" sldId="1469"/>
            <ac:spMk id="4" creationId="{0B9C3D5B-4A1D-4C37-BB09-82679FC99078}"/>
          </ac:spMkLst>
        </pc:spChg>
        <pc:spChg chg="mod">
          <ac:chgData name="Sam Mesel" userId="1ee7badb-5d1f-4872-89ae-dcf7b71f276a" providerId="ADAL" clId="{E8F0D672-538F-4445-A6D1-D27ACC21A983}" dt="2020-03-02T15:10:05.236" v="17" actId="1036"/>
          <ac:spMkLst>
            <pc:docMk/>
            <pc:sldMk cId="3070814794" sldId="1469"/>
            <ac:spMk id="6"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7"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8"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9"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10"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11"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12"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13"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14"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15"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16"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17"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24"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25"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26"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27"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33"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34"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35"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36"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37"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38"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39"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40"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41"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42"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43"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44"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45" creationId="{00000000-0000-0000-0000-000000000000}"/>
          </ac:spMkLst>
        </pc:spChg>
        <pc:spChg chg="mod">
          <ac:chgData name="Sam Mesel" userId="1ee7badb-5d1f-4872-89ae-dcf7b71f276a" providerId="ADAL" clId="{E8F0D672-538F-4445-A6D1-D27ACC21A983}" dt="2020-03-02T15:11:42.482" v="27" actId="1076"/>
          <ac:spMkLst>
            <pc:docMk/>
            <pc:sldMk cId="3070814794" sldId="1469"/>
            <ac:spMk id="46" creationId="{00000000-0000-0000-0000-000000000000}"/>
          </ac:spMkLst>
        </pc:spChg>
        <pc:grpChg chg="mod">
          <ac:chgData name="Sam Mesel" userId="1ee7badb-5d1f-4872-89ae-dcf7b71f276a" providerId="ADAL" clId="{E8F0D672-538F-4445-A6D1-D27ACC21A983}" dt="2020-03-02T15:10:05.236" v="17" actId="1036"/>
          <ac:grpSpMkLst>
            <pc:docMk/>
            <pc:sldMk cId="3070814794" sldId="1469"/>
            <ac:grpSpMk id="18" creationId="{00000000-0000-0000-0000-000000000000}"/>
          </ac:grpSpMkLst>
        </pc:grpChg>
        <pc:grpChg chg="mod">
          <ac:chgData name="Sam Mesel" userId="1ee7badb-5d1f-4872-89ae-dcf7b71f276a" providerId="ADAL" clId="{E8F0D672-538F-4445-A6D1-D27ACC21A983}" dt="2020-03-02T15:10:05.236" v="17" actId="1036"/>
          <ac:grpSpMkLst>
            <pc:docMk/>
            <pc:sldMk cId="3070814794" sldId="1469"/>
            <ac:grpSpMk id="28" creationId="{00000000-0000-0000-0000-000000000000}"/>
          </ac:grpSpMkLst>
        </pc:grpChg>
      </pc:sldChg>
      <pc:sldChg chg="modSp mod">
        <pc:chgData name="Sam Mesel" userId="1ee7badb-5d1f-4872-89ae-dcf7b71f276a" providerId="ADAL" clId="{E8F0D672-538F-4445-A6D1-D27ACC21A983}" dt="2020-03-02T20:17:57.630" v="1519" actId="1076"/>
        <pc:sldMkLst>
          <pc:docMk/>
          <pc:sldMk cId="2554929962" sldId="1496"/>
        </pc:sldMkLst>
        <pc:spChg chg="mod">
          <ac:chgData name="Sam Mesel" userId="1ee7badb-5d1f-4872-89ae-dcf7b71f276a" providerId="ADAL" clId="{E8F0D672-538F-4445-A6D1-D27ACC21A983}" dt="2020-03-02T20:17:57.630" v="1519" actId="1076"/>
          <ac:spMkLst>
            <pc:docMk/>
            <pc:sldMk cId="2554929962" sldId="1496"/>
            <ac:spMk id="4" creationId="{00000000-0000-0000-0000-000000000000}"/>
          </ac:spMkLst>
        </pc:spChg>
      </pc:sldChg>
      <pc:sldChg chg="addSp modSp mod modAnim">
        <pc:chgData name="Sam Mesel" userId="1ee7badb-5d1f-4872-89ae-dcf7b71f276a" providerId="ADAL" clId="{E8F0D672-538F-4445-A6D1-D27ACC21A983}" dt="2020-03-03T15:41:37.566" v="1909" actId="1076"/>
        <pc:sldMkLst>
          <pc:docMk/>
          <pc:sldMk cId="2558109578" sldId="1497"/>
        </pc:sldMkLst>
        <pc:spChg chg="add mod">
          <ac:chgData name="Sam Mesel" userId="1ee7badb-5d1f-4872-89ae-dcf7b71f276a" providerId="ADAL" clId="{E8F0D672-538F-4445-A6D1-D27ACC21A983}" dt="2020-03-03T15:41:37.566" v="1909" actId="1076"/>
          <ac:spMkLst>
            <pc:docMk/>
            <pc:sldMk cId="2558109578" sldId="1497"/>
            <ac:spMk id="2" creationId="{508925ED-9510-43E8-8015-233243BBA421}"/>
          </ac:spMkLst>
        </pc:spChg>
        <pc:spChg chg="add mod">
          <ac:chgData name="Sam Mesel" userId="1ee7badb-5d1f-4872-89ae-dcf7b71f276a" providerId="ADAL" clId="{E8F0D672-538F-4445-A6D1-D27ACC21A983}" dt="2020-03-03T15:41:37.566" v="1909" actId="1076"/>
          <ac:spMkLst>
            <pc:docMk/>
            <pc:sldMk cId="2558109578" sldId="1497"/>
            <ac:spMk id="7" creationId="{B01DFF02-1A95-47D1-9701-35BE6F2E8ABA}"/>
          </ac:spMkLst>
        </pc:spChg>
        <pc:spChg chg="add mod">
          <ac:chgData name="Sam Mesel" userId="1ee7badb-5d1f-4872-89ae-dcf7b71f276a" providerId="ADAL" clId="{E8F0D672-538F-4445-A6D1-D27ACC21A983}" dt="2020-03-03T15:41:37.566" v="1909" actId="1076"/>
          <ac:spMkLst>
            <pc:docMk/>
            <pc:sldMk cId="2558109578" sldId="1497"/>
            <ac:spMk id="8" creationId="{4079E5A1-77C8-4B74-B747-647B47141F0C}"/>
          </ac:spMkLst>
        </pc:spChg>
        <pc:spChg chg="add mod">
          <ac:chgData name="Sam Mesel" userId="1ee7badb-5d1f-4872-89ae-dcf7b71f276a" providerId="ADAL" clId="{E8F0D672-538F-4445-A6D1-D27ACC21A983}" dt="2020-03-03T15:41:37.566" v="1909" actId="1076"/>
          <ac:spMkLst>
            <pc:docMk/>
            <pc:sldMk cId="2558109578" sldId="1497"/>
            <ac:spMk id="9" creationId="{C69E21C2-4C59-414D-956B-6534ED10607A}"/>
          </ac:spMkLst>
        </pc:spChg>
        <pc:graphicFrameChg chg="mod">
          <ac:chgData name="Sam Mesel" userId="1ee7badb-5d1f-4872-89ae-dcf7b71f276a" providerId="ADAL" clId="{E8F0D672-538F-4445-A6D1-D27ACC21A983}" dt="2020-03-02T15:26:10.559" v="91" actId="1076"/>
          <ac:graphicFrameMkLst>
            <pc:docMk/>
            <pc:sldMk cId="2558109578" sldId="1497"/>
            <ac:graphicFrameMk id="4" creationId="{00000000-0000-0000-0000-000000000000}"/>
          </ac:graphicFrameMkLst>
        </pc:graphicFrameChg>
      </pc:sldChg>
      <pc:sldChg chg="modSp mod">
        <pc:chgData name="Sam Mesel" userId="1ee7badb-5d1f-4872-89ae-dcf7b71f276a" providerId="ADAL" clId="{E8F0D672-538F-4445-A6D1-D27ACC21A983}" dt="2020-03-03T19:34:50.368" v="1916" actId="27636"/>
        <pc:sldMkLst>
          <pc:docMk/>
          <pc:sldMk cId="2688822629" sldId="1498"/>
        </pc:sldMkLst>
        <pc:spChg chg="mod">
          <ac:chgData name="Sam Mesel" userId="1ee7badb-5d1f-4872-89ae-dcf7b71f276a" providerId="ADAL" clId="{E8F0D672-538F-4445-A6D1-D27ACC21A983}" dt="2020-03-03T19:34:50.368" v="1916" actId="27636"/>
          <ac:spMkLst>
            <pc:docMk/>
            <pc:sldMk cId="2688822629" sldId="1498"/>
            <ac:spMk id="2" creationId="{00000000-0000-0000-0000-000000000000}"/>
          </ac:spMkLst>
        </pc:spChg>
      </pc:sldChg>
      <pc:sldChg chg="modSp modAnim">
        <pc:chgData name="Sam Mesel" userId="1ee7badb-5d1f-4872-89ae-dcf7b71f276a" providerId="ADAL" clId="{E8F0D672-538F-4445-A6D1-D27ACC21A983}" dt="2020-03-02T17:36:10.891" v="1046" actId="20577"/>
        <pc:sldMkLst>
          <pc:docMk/>
          <pc:sldMk cId="2981336413" sldId="1504"/>
        </pc:sldMkLst>
        <pc:graphicFrameChg chg="mod">
          <ac:chgData name="Sam Mesel" userId="1ee7badb-5d1f-4872-89ae-dcf7b71f276a" providerId="ADAL" clId="{E8F0D672-538F-4445-A6D1-D27ACC21A983}" dt="2020-03-02T17:36:10.891" v="1046" actId="20577"/>
          <ac:graphicFrameMkLst>
            <pc:docMk/>
            <pc:sldMk cId="2981336413" sldId="1504"/>
            <ac:graphicFrameMk id="6" creationId="{00000000-0000-0000-0000-000000000000}"/>
          </ac:graphicFrameMkLst>
        </pc:graphicFrameChg>
      </pc:sldChg>
      <pc:sldChg chg="modNotesTx">
        <pc:chgData name="Sam Mesel" userId="1ee7badb-5d1f-4872-89ae-dcf7b71f276a" providerId="ADAL" clId="{E8F0D672-538F-4445-A6D1-D27ACC21A983}" dt="2020-03-02T17:42:37.338" v="1073" actId="12"/>
        <pc:sldMkLst>
          <pc:docMk/>
          <pc:sldMk cId="2113811152" sldId="1507"/>
        </pc:sldMkLst>
      </pc:sldChg>
      <pc:sldChg chg="modSp mod">
        <pc:chgData name="Sam Mesel" userId="1ee7badb-5d1f-4872-89ae-dcf7b71f276a" providerId="ADAL" clId="{E8F0D672-538F-4445-A6D1-D27ACC21A983}" dt="2020-03-02T21:14:15.616" v="1904" actId="6549"/>
        <pc:sldMkLst>
          <pc:docMk/>
          <pc:sldMk cId="642886057" sldId="1510"/>
        </pc:sldMkLst>
        <pc:spChg chg="mod">
          <ac:chgData name="Sam Mesel" userId="1ee7badb-5d1f-4872-89ae-dcf7b71f276a" providerId="ADAL" clId="{E8F0D672-538F-4445-A6D1-D27ACC21A983}" dt="2020-03-02T21:14:15.616" v="1904" actId="6549"/>
          <ac:spMkLst>
            <pc:docMk/>
            <pc:sldMk cId="642886057" sldId="1510"/>
            <ac:spMk id="6" creationId="{00000000-0000-0000-0000-000000000000}"/>
          </ac:spMkLst>
        </pc:spChg>
      </pc:sldChg>
      <pc:sldChg chg="addSp delSp modSp mod modClrScheme chgLayout">
        <pc:chgData name="Sam Mesel" userId="1ee7badb-5d1f-4872-89ae-dcf7b71f276a" providerId="ADAL" clId="{E8F0D672-538F-4445-A6D1-D27ACC21A983}" dt="2020-03-02T20:45:53.844" v="1856" actId="6549"/>
        <pc:sldMkLst>
          <pc:docMk/>
          <pc:sldMk cId="3718892951" sldId="1512"/>
        </pc:sldMkLst>
        <pc:spChg chg="add mod ord">
          <ac:chgData name="Sam Mesel" userId="1ee7badb-5d1f-4872-89ae-dcf7b71f276a" providerId="ADAL" clId="{E8F0D672-538F-4445-A6D1-D27ACC21A983}" dt="2020-03-02T20:45:53.844" v="1856" actId="6549"/>
          <ac:spMkLst>
            <pc:docMk/>
            <pc:sldMk cId="3718892951" sldId="1512"/>
            <ac:spMk id="2" creationId="{5A79A6D8-BA9C-4C2E-8D8C-B8163FE65119}"/>
          </ac:spMkLst>
        </pc:spChg>
        <pc:spChg chg="add del mod ord">
          <ac:chgData name="Sam Mesel" userId="1ee7badb-5d1f-4872-89ae-dcf7b71f276a" providerId="ADAL" clId="{E8F0D672-538F-4445-A6D1-D27ACC21A983}" dt="2020-03-02T20:45:42.461" v="1839" actId="478"/>
          <ac:spMkLst>
            <pc:docMk/>
            <pc:sldMk cId="3718892951" sldId="1512"/>
            <ac:spMk id="3" creationId="{5D214E73-FD2C-47B3-A97B-4C290322127D}"/>
          </ac:spMkLst>
        </pc:spChg>
        <pc:spChg chg="mod ord">
          <ac:chgData name="Sam Mesel" userId="1ee7badb-5d1f-4872-89ae-dcf7b71f276a" providerId="ADAL" clId="{E8F0D672-538F-4445-A6D1-D27ACC21A983}" dt="2020-03-02T20:45:14.506" v="1818" actId="700"/>
          <ac:spMkLst>
            <pc:docMk/>
            <pc:sldMk cId="3718892951" sldId="1512"/>
            <ac:spMk id="5" creationId="{00000000-0000-0000-0000-000000000000}"/>
          </ac:spMkLst>
        </pc:spChg>
        <pc:graphicFrameChg chg="mod">
          <ac:chgData name="Sam Mesel" userId="1ee7badb-5d1f-4872-89ae-dcf7b71f276a" providerId="ADAL" clId="{E8F0D672-538F-4445-A6D1-D27ACC21A983}" dt="2020-03-02T20:45:26.536" v="1819" actId="1076"/>
          <ac:graphicFrameMkLst>
            <pc:docMk/>
            <pc:sldMk cId="3718892951" sldId="1512"/>
            <ac:graphicFrameMk id="8" creationId="{00000000-0000-0000-0000-000000000000}"/>
          </ac:graphicFrameMkLst>
        </pc:graphicFrameChg>
      </pc:sldChg>
      <pc:sldChg chg="addSp delSp modSp mod modClrScheme chgLayout modNotesTx">
        <pc:chgData name="Sam Mesel" userId="1ee7badb-5d1f-4872-89ae-dcf7b71f276a" providerId="ADAL" clId="{E8F0D672-538F-4445-A6D1-D27ACC21A983}" dt="2020-03-03T19:40:02.070" v="1922" actId="6549"/>
        <pc:sldMkLst>
          <pc:docMk/>
          <pc:sldMk cId="1249006586" sldId="1513"/>
        </pc:sldMkLst>
        <pc:spChg chg="add del mod ord">
          <ac:chgData name="Sam Mesel" userId="1ee7badb-5d1f-4872-89ae-dcf7b71f276a" providerId="ADAL" clId="{E8F0D672-538F-4445-A6D1-D27ACC21A983}" dt="2020-03-02T20:46:08.361" v="1858" actId="700"/>
          <ac:spMkLst>
            <pc:docMk/>
            <pc:sldMk cId="1249006586" sldId="1513"/>
            <ac:spMk id="2" creationId="{B405587E-89DB-47E1-918A-926F9CD75D4C}"/>
          </ac:spMkLst>
        </pc:spChg>
        <pc:spChg chg="mod ord">
          <ac:chgData name="Sam Mesel" userId="1ee7badb-5d1f-4872-89ae-dcf7b71f276a" providerId="ADAL" clId="{E8F0D672-538F-4445-A6D1-D27ACC21A983}" dt="2020-03-02T20:46:17.203" v="1859" actId="700"/>
          <ac:spMkLst>
            <pc:docMk/>
            <pc:sldMk cId="1249006586" sldId="1513"/>
            <ac:spMk id="3" creationId="{00000000-0000-0000-0000-000000000000}"/>
          </ac:spMkLst>
        </pc:spChg>
        <pc:spChg chg="add del mod ord">
          <ac:chgData name="Sam Mesel" userId="1ee7badb-5d1f-4872-89ae-dcf7b71f276a" providerId="ADAL" clId="{E8F0D672-538F-4445-A6D1-D27ACC21A983}" dt="2020-03-02T20:46:08.361" v="1858" actId="700"/>
          <ac:spMkLst>
            <pc:docMk/>
            <pc:sldMk cId="1249006586" sldId="1513"/>
            <ac:spMk id="4" creationId="{35277E17-F52D-47FD-9F68-E04B2E83529A}"/>
          </ac:spMkLst>
        </pc:spChg>
        <pc:spChg chg="add mod ord">
          <ac:chgData name="Sam Mesel" userId="1ee7badb-5d1f-4872-89ae-dcf7b71f276a" providerId="ADAL" clId="{E8F0D672-538F-4445-A6D1-D27ACC21A983}" dt="2020-03-02T20:46:30.791" v="1877" actId="20577"/>
          <ac:spMkLst>
            <pc:docMk/>
            <pc:sldMk cId="1249006586" sldId="1513"/>
            <ac:spMk id="5" creationId="{E7052AC0-F04D-429B-B8C9-4E77807F3B9C}"/>
          </ac:spMkLst>
        </pc:spChg>
        <pc:spChg chg="add del mod ord">
          <ac:chgData name="Sam Mesel" userId="1ee7badb-5d1f-4872-89ae-dcf7b71f276a" providerId="ADAL" clId="{E8F0D672-538F-4445-A6D1-D27ACC21A983}" dt="2020-03-02T21:14:59.523" v="1905" actId="478"/>
          <ac:spMkLst>
            <pc:docMk/>
            <pc:sldMk cId="1249006586" sldId="1513"/>
            <ac:spMk id="6" creationId="{2DB3A03B-AC71-49D6-8FB4-2E6274F68805}"/>
          </ac:spMkLst>
        </pc:spChg>
        <pc:graphicFrameChg chg="mod">
          <ac:chgData name="Sam Mesel" userId="1ee7badb-5d1f-4872-89ae-dcf7b71f276a" providerId="ADAL" clId="{E8F0D672-538F-4445-A6D1-D27ACC21A983}" dt="2020-03-02T20:46:24.597" v="1860" actId="14100"/>
          <ac:graphicFrameMkLst>
            <pc:docMk/>
            <pc:sldMk cId="1249006586" sldId="1513"/>
            <ac:graphicFrameMk id="8" creationId="{00000000-0000-0000-0000-000000000000}"/>
          </ac:graphicFrameMkLst>
        </pc:graphicFrameChg>
      </pc:sldChg>
      <pc:sldChg chg="modSp mod">
        <pc:chgData name="Sam Mesel" userId="1ee7badb-5d1f-4872-89ae-dcf7b71f276a" providerId="ADAL" clId="{E8F0D672-538F-4445-A6D1-D27ACC21A983}" dt="2020-03-03T19:40:46.210" v="1938" actId="20577"/>
        <pc:sldMkLst>
          <pc:docMk/>
          <pc:sldMk cId="677637481" sldId="1514"/>
        </pc:sldMkLst>
        <pc:spChg chg="mod">
          <ac:chgData name="Sam Mesel" userId="1ee7badb-5d1f-4872-89ae-dcf7b71f276a" providerId="ADAL" clId="{E8F0D672-538F-4445-A6D1-D27ACC21A983}" dt="2020-03-03T19:40:46.210" v="1938" actId="20577"/>
          <ac:spMkLst>
            <pc:docMk/>
            <pc:sldMk cId="677637481" sldId="1514"/>
            <ac:spMk id="4" creationId="{AF01F6FC-E052-488D-9401-0F977342CB22}"/>
          </ac:spMkLst>
        </pc:spChg>
      </pc:sldChg>
      <pc:sldChg chg="addSp delSp modSp mod modClrScheme chgLayout">
        <pc:chgData name="Sam Mesel" userId="1ee7badb-5d1f-4872-89ae-dcf7b71f276a" providerId="ADAL" clId="{E8F0D672-538F-4445-A6D1-D27ACC21A983}" dt="2020-03-02T20:30:02.235" v="1817" actId="6549"/>
        <pc:sldMkLst>
          <pc:docMk/>
          <pc:sldMk cId="2772002599" sldId="1515"/>
        </pc:sldMkLst>
        <pc:spChg chg="add del mod ord">
          <ac:chgData name="Sam Mesel" userId="1ee7badb-5d1f-4872-89ae-dcf7b71f276a" providerId="ADAL" clId="{E8F0D672-538F-4445-A6D1-D27ACC21A983}" dt="2020-03-02T20:29:03.525" v="1788" actId="700"/>
          <ac:spMkLst>
            <pc:docMk/>
            <pc:sldMk cId="2772002599" sldId="1515"/>
            <ac:spMk id="2" creationId="{E037461D-45BD-4388-A0FA-2520409F053A}"/>
          </ac:spMkLst>
        </pc:spChg>
        <pc:spChg chg="mod ord">
          <ac:chgData name="Sam Mesel" userId="1ee7badb-5d1f-4872-89ae-dcf7b71f276a" providerId="ADAL" clId="{E8F0D672-538F-4445-A6D1-D27ACC21A983}" dt="2020-03-02T20:29:30.775" v="1790" actId="700"/>
          <ac:spMkLst>
            <pc:docMk/>
            <pc:sldMk cId="2772002599" sldId="1515"/>
            <ac:spMk id="3" creationId="{00000000-0000-0000-0000-000000000000}"/>
          </ac:spMkLst>
        </pc:spChg>
        <pc:spChg chg="add del mod ord">
          <ac:chgData name="Sam Mesel" userId="1ee7badb-5d1f-4872-89ae-dcf7b71f276a" providerId="ADAL" clId="{E8F0D672-538F-4445-A6D1-D27ACC21A983}" dt="2020-03-02T20:29:03.525" v="1788" actId="700"/>
          <ac:spMkLst>
            <pc:docMk/>
            <pc:sldMk cId="2772002599" sldId="1515"/>
            <ac:spMk id="4" creationId="{831742A9-6F8C-4E8C-81AD-9DF3062BCF28}"/>
          </ac:spMkLst>
        </pc:spChg>
        <pc:spChg chg="add mod ord">
          <ac:chgData name="Sam Mesel" userId="1ee7badb-5d1f-4872-89ae-dcf7b71f276a" providerId="ADAL" clId="{E8F0D672-538F-4445-A6D1-D27ACC21A983}" dt="2020-03-02T20:30:02.235" v="1817" actId="6549"/>
          <ac:spMkLst>
            <pc:docMk/>
            <pc:sldMk cId="2772002599" sldId="1515"/>
            <ac:spMk id="6" creationId="{631F7F91-2B77-4056-9748-A57401DB2B81}"/>
          </ac:spMkLst>
        </pc:spChg>
        <pc:spChg chg="add del mod ord">
          <ac:chgData name="Sam Mesel" userId="1ee7badb-5d1f-4872-89ae-dcf7b71f276a" providerId="ADAL" clId="{E8F0D672-538F-4445-A6D1-D27ACC21A983}" dt="2020-03-02T20:29:41.458" v="1791" actId="478"/>
          <ac:spMkLst>
            <pc:docMk/>
            <pc:sldMk cId="2772002599" sldId="1515"/>
            <ac:spMk id="7" creationId="{EC012770-8382-4F22-A3CA-BB6D7E8CE7A1}"/>
          </ac:spMkLst>
        </pc:spChg>
      </pc:sldChg>
      <pc:sldChg chg="modSp mod">
        <pc:chgData name="Sam Mesel" userId="1ee7badb-5d1f-4872-89ae-dcf7b71f276a" providerId="ADAL" clId="{E8F0D672-538F-4445-A6D1-D27ACC21A983}" dt="2020-03-02T21:11:17.778" v="1879" actId="20577"/>
        <pc:sldMkLst>
          <pc:docMk/>
          <pc:sldMk cId="3007240879" sldId="1536"/>
        </pc:sldMkLst>
        <pc:spChg chg="mod">
          <ac:chgData name="Sam Mesel" userId="1ee7badb-5d1f-4872-89ae-dcf7b71f276a" providerId="ADAL" clId="{E8F0D672-538F-4445-A6D1-D27ACC21A983}" dt="2020-03-02T17:33:21.657" v="1040" actId="20577"/>
          <ac:spMkLst>
            <pc:docMk/>
            <pc:sldMk cId="3007240879" sldId="1536"/>
            <ac:spMk id="2" creationId="{00000000-0000-0000-0000-000000000000}"/>
          </ac:spMkLst>
        </pc:spChg>
        <pc:spChg chg="mod">
          <ac:chgData name="Sam Mesel" userId="1ee7badb-5d1f-4872-89ae-dcf7b71f276a" providerId="ADAL" clId="{E8F0D672-538F-4445-A6D1-D27ACC21A983}" dt="2020-03-02T21:11:17.778" v="1879" actId="20577"/>
          <ac:spMkLst>
            <pc:docMk/>
            <pc:sldMk cId="3007240879" sldId="1536"/>
            <ac:spMk id="3" creationId="{00000000-0000-0000-0000-000000000000}"/>
          </ac:spMkLst>
        </pc:spChg>
      </pc:sldChg>
      <pc:sldChg chg="addSp delSp modSp mod">
        <pc:chgData name="Sam Mesel" userId="1ee7badb-5d1f-4872-89ae-dcf7b71f276a" providerId="ADAL" clId="{E8F0D672-538F-4445-A6D1-D27ACC21A983}" dt="2020-03-02T20:23:40.210" v="1741" actId="20577"/>
        <pc:sldMkLst>
          <pc:docMk/>
          <pc:sldMk cId="3418559531" sldId="1538"/>
        </pc:sldMkLst>
        <pc:spChg chg="mod">
          <ac:chgData name="Sam Mesel" userId="1ee7badb-5d1f-4872-89ae-dcf7b71f276a" providerId="ADAL" clId="{E8F0D672-538F-4445-A6D1-D27ACC21A983}" dt="2020-03-02T17:47:39.406" v="1099" actId="21"/>
          <ac:spMkLst>
            <pc:docMk/>
            <pc:sldMk cId="3418559531" sldId="1538"/>
            <ac:spMk id="5" creationId="{00000000-0000-0000-0000-000000000000}"/>
          </ac:spMkLst>
        </pc:spChg>
        <pc:spChg chg="del mod">
          <ac:chgData name="Sam Mesel" userId="1ee7badb-5d1f-4872-89ae-dcf7b71f276a" providerId="ADAL" clId="{E8F0D672-538F-4445-A6D1-D27ACC21A983}" dt="2020-03-02T17:50:18.051" v="1228" actId="478"/>
          <ac:spMkLst>
            <pc:docMk/>
            <pc:sldMk cId="3418559531" sldId="1538"/>
            <ac:spMk id="6" creationId="{00000000-0000-0000-0000-000000000000}"/>
          </ac:spMkLst>
        </pc:spChg>
        <pc:spChg chg="add del mod">
          <ac:chgData name="Sam Mesel" userId="1ee7badb-5d1f-4872-89ae-dcf7b71f276a" providerId="ADAL" clId="{E8F0D672-538F-4445-A6D1-D27ACC21A983}" dt="2020-03-02T17:50:20.388" v="1229" actId="478"/>
          <ac:spMkLst>
            <pc:docMk/>
            <pc:sldMk cId="3418559531" sldId="1538"/>
            <ac:spMk id="7" creationId="{1E8BE321-1801-4448-9406-E4C9C9C966B9}"/>
          </ac:spMkLst>
        </pc:spChg>
        <pc:graphicFrameChg chg="add del mod modGraphic">
          <ac:chgData name="Sam Mesel" userId="1ee7badb-5d1f-4872-89ae-dcf7b71f276a" providerId="ADAL" clId="{E8F0D672-538F-4445-A6D1-D27ACC21A983}" dt="2020-03-02T17:57:17.585" v="1406" actId="478"/>
          <ac:graphicFrameMkLst>
            <pc:docMk/>
            <pc:sldMk cId="3418559531" sldId="1538"/>
            <ac:graphicFrameMk id="2" creationId="{3EA6CAB8-E3F0-4D5A-8DB7-3806C4833540}"/>
          </ac:graphicFrameMkLst>
        </pc:graphicFrameChg>
        <pc:graphicFrameChg chg="add mod modGraphic">
          <ac:chgData name="Sam Mesel" userId="1ee7badb-5d1f-4872-89ae-dcf7b71f276a" providerId="ADAL" clId="{E8F0D672-538F-4445-A6D1-D27ACC21A983}" dt="2020-03-02T20:23:40.210" v="1741" actId="20577"/>
          <ac:graphicFrameMkLst>
            <pc:docMk/>
            <pc:sldMk cId="3418559531" sldId="1538"/>
            <ac:graphicFrameMk id="8" creationId="{EAD54B84-9620-4797-9496-ED729535AFF1}"/>
          </ac:graphicFrameMkLst>
        </pc:graphicFrameChg>
      </pc:sldChg>
      <pc:sldChg chg="modSp mod">
        <pc:chgData name="Sam Mesel" userId="1ee7badb-5d1f-4872-89ae-dcf7b71f276a" providerId="ADAL" clId="{E8F0D672-538F-4445-A6D1-D27ACC21A983}" dt="2020-03-03T22:07:28.808" v="1943" actId="1036"/>
        <pc:sldMkLst>
          <pc:docMk/>
          <pc:sldMk cId="489403270" sldId="1544"/>
        </pc:sldMkLst>
        <pc:spChg chg="mod">
          <ac:chgData name="Sam Mesel" userId="1ee7badb-5d1f-4872-89ae-dcf7b71f276a" providerId="ADAL" clId="{E8F0D672-538F-4445-A6D1-D27ACC21A983}" dt="2020-03-02T19:01:52.937" v="1518" actId="20577"/>
          <ac:spMkLst>
            <pc:docMk/>
            <pc:sldMk cId="489403270" sldId="1544"/>
            <ac:spMk id="2" creationId="{00000000-0000-0000-0000-000000000000}"/>
          </ac:spMkLst>
        </pc:spChg>
        <pc:picChg chg="mod">
          <ac:chgData name="Sam Mesel" userId="1ee7badb-5d1f-4872-89ae-dcf7b71f276a" providerId="ADAL" clId="{E8F0D672-538F-4445-A6D1-D27ACC21A983}" dt="2020-03-03T22:07:28.808" v="1943" actId="1036"/>
          <ac:picMkLst>
            <pc:docMk/>
            <pc:sldMk cId="489403270" sldId="1544"/>
            <ac:picMk id="4" creationId="{00000000-0000-0000-0000-000000000000}"/>
          </ac:picMkLst>
        </pc:picChg>
      </pc:sldChg>
      <pc:sldChg chg="modSp mod">
        <pc:chgData name="Sam Mesel" userId="1ee7badb-5d1f-4872-89ae-dcf7b71f276a" providerId="ADAL" clId="{E8F0D672-538F-4445-A6D1-D27ACC21A983}" dt="2020-03-02T17:40:57.701" v="1070" actId="1076"/>
        <pc:sldMkLst>
          <pc:docMk/>
          <pc:sldMk cId="2836365285" sldId="1547"/>
        </pc:sldMkLst>
        <pc:spChg chg="mod">
          <ac:chgData name="Sam Mesel" userId="1ee7badb-5d1f-4872-89ae-dcf7b71f276a" providerId="ADAL" clId="{E8F0D672-538F-4445-A6D1-D27ACC21A983}" dt="2020-03-02T17:40:55.964" v="1068" actId="20577"/>
          <ac:spMkLst>
            <pc:docMk/>
            <pc:sldMk cId="2836365285" sldId="1547"/>
            <ac:spMk id="89" creationId="{00000000-0000-0000-0000-000000000000}"/>
          </ac:spMkLst>
        </pc:spChg>
        <pc:spChg chg="mod">
          <ac:chgData name="Sam Mesel" userId="1ee7badb-5d1f-4872-89ae-dcf7b71f276a" providerId="ADAL" clId="{E8F0D672-538F-4445-A6D1-D27ACC21A983}" dt="2020-03-02T17:39:59.511" v="1063" actId="1076"/>
          <ac:spMkLst>
            <pc:docMk/>
            <pc:sldMk cId="2836365285" sldId="1547"/>
            <ac:spMk id="137" creationId="{00000000-0000-0000-0000-000000000000}"/>
          </ac:spMkLst>
        </pc:spChg>
        <pc:grpChg chg="mod">
          <ac:chgData name="Sam Mesel" userId="1ee7badb-5d1f-4872-89ae-dcf7b71f276a" providerId="ADAL" clId="{E8F0D672-538F-4445-A6D1-D27ACC21A983}" dt="2020-03-02T17:40:57.701" v="1070" actId="1076"/>
          <ac:grpSpMkLst>
            <pc:docMk/>
            <pc:sldMk cId="2836365285" sldId="1547"/>
            <ac:grpSpMk id="117" creationId="{00000000-0000-0000-0000-000000000000}"/>
          </ac:grpSpMkLst>
        </pc:grpChg>
        <pc:grpChg chg="mod">
          <ac:chgData name="Sam Mesel" userId="1ee7badb-5d1f-4872-89ae-dcf7b71f276a" providerId="ADAL" clId="{E8F0D672-538F-4445-A6D1-D27ACC21A983}" dt="2020-03-02T17:40:56.883" v="1069" actId="1076"/>
          <ac:grpSpMkLst>
            <pc:docMk/>
            <pc:sldMk cId="2836365285" sldId="1547"/>
            <ac:grpSpMk id="120" creationId="{00000000-0000-0000-0000-000000000000}"/>
          </ac:grpSpMkLst>
        </pc:grpChg>
      </pc:sldChg>
      <pc:sldChg chg="delSp add del mod">
        <pc:chgData name="Sam Mesel" userId="1ee7badb-5d1f-4872-89ae-dcf7b71f276a" providerId="ADAL" clId="{E8F0D672-538F-4445-A6D1-D27ACC21A983}" dt="2020-03-02T18:47:05.285" v="1422" actId="47"/>
        <pc:sldMkLst>
          <pc:docMk/>
          <pc:sldMk cId="2499434851" sldId="1548"/>
        </pc:sldMkLst>
        <pc:graphicFrameChg chg="del">
          <ac:chgData name="Sam Mesel" userId="1ee7badb-5d1f-4872-89ae-dcf7b71f276a" providerId="ADAL" clId="{E8F0D672-538F-4445-A6D1-D27ACC21A983}" dt="2020-03-02T17:59:26.051" v="1415" actId="478"/>
          <ac:graphicFrameMkLst>
            <pc:docMk/>
            <pc:sldMk cId="2499434851" sldId="1548"/>
            <ac:graphicFrameMk id="2" creationId="{3EA6CAB8-E3F0-4D5A-8DB7-3806C4833540}"/>
          </ac:graphicFrameMkLst>
        </pc:graphicFrameChg>
      </pc:sldChg>
      <pc:sldChg chg="modNotesTx">
        <pc:chgData name="Sam Mesel" userId="1ee7badb-5d1f-4872-89ae-dcf7b71f276a" providerId="ADAL" clId="{E8F0D672-538F-4445-A6D1-D27ACC21A983}" dt="2020-03-03T19:38:49.053" v="1919" actId="6549"/>
        <pc:sldMkLst>
          <pc:docMk/>
          <pc:sldMk cId="3615270324" sldId="1548"/>
        </pc:sldMkLst>
      </pc:sldChg>
    </pc:docChg>
  </pc:docChgLst>
  <pc:docChgLst>
    <pc:chgData name="Batuhan Yildiz" userId="90f344fc-4655-4923-aeaf-697bba59c1a7" providerId="ADAL" clId="{36790D39-2AF2-4FE2-8F3C-98932C7C5456}"/>
    <pc:docChg chg="undo custSel addSld delSld modSld modSection">
      <pc:chgData name="Batuhan Yildiz" userId="90f344fc-4655-4923-aeaf-697bba59c1a7" providerId="ADAL" clId="{36790D39-2AF2-4FE2-8F3C-98932C7C5456}" dt="2020-05-22T01:16:19.074" v="280" actId="1076"/>
      <pc:docMkLst>
        <pc:docMk/>
      </pc:docMkLst>
      <pc:sldChg chg="modSp">
        <pc:chgData name="Batuhan Yildiz" userId="90f344fc-4655-4923-aeaf-697bba59c1a7" providerId="ADAL" clId="{36790D39-2AF2-4FE2-8F3C-98932C7C5456}" dt="2020-05-22T00:26:26.049" v="2" actId="14100"/>
        <pc:sldMkLst>
          <pc:docMk/>
          <pc:sldMk cId="3735096506" sldId="563"/>
        </pc:sldMkLst>
        <pc:graphicFrameChg chg="mod">
          <ac:chgData name="Batuhan Yildiz" userId="90f344fc-4655-4923-aeaf-697bba59c1a7" providerId="ADAL" clId="{36790D39-2AF2-4FE2-8F3C-98932C7C5456}" dt="2020-05-22T00:26:26.049" v="2" actId="14100"/>
          <ac:graphicFrameMkLst>
            <pc:docMk/>
            <pc:sldMk cId="3735096506" sldId="563"/>
            <ac:graphicFrameMk id="3" creationId="{9484E1FE-7534-495E-863C-657A46F5E628}"/>
          </ac:graphicFrameMkLst>
        </pc:graphicFrameChg>
      </pc:sldChg>
      <pc:sldChg chg="modSp">
        <pc:chgData name="Batuhan Yildiz" userId="90f344fc-4655-4923-aeaf-697bba59c1a7" providerId="ADAL" clId="{36790D39-2AF2-4FE2-8F3C-98932C7C5456}" dt="2020-05-22T00:39:37.548" v="82" actId="14100"/>
        <pc:sldMkLst>
          <pc:docMk/>
          <pc:sldMk cId="2346840044" sldId="570"/>
        </pc:sldMkLst>
        <pc:graphicFrameChg chg="mod">
          <ac:chgData name="Batuhan Yildiz" userId="90f344fc-4655-4923-aeaf-697bba59c1a7" providerId="ADAL" clId="{36790D39-2AF2-4FE2-8F3C-98932C7C5456}" dt="2020-05-22T00:39:37.548" v="82" actId="14100"/>
          <ac:graphicFrameMkLst>
            <pc:docMk/>
            <pc:sldMk cId="2346840044" sldId="570"/>
            <ac:graphicFrameMk id="3" creationId="{9484E1FE-7534-495E-863C-657A46F5E628}"/>
          </ac:graphicFrameMkLst>
        </pc:graphicFrameChg>
      </pc:sldChg>
      <pc:sldChg chg="modSp">
        <pc:chgData name="Batuhan Yildiz" userId="90f344fc-4655-4923-aeaf-697bba59c1a7" providerId="ADAL" clId="{36790D39-2AF2-4FE2-8F3C-98932C7C5456}" dt="2020-05-22T01:14:35.379" v="277" actId="14100"/>
        <pc:sldMkLst>
          <pc:docMk/>
          <pc:sldMk cId="4206133277" sldId="577"/>
        </pc:sldMkLst>
        <pc:graphicFrameChg chg="mod">
          <ac:chgData name="Batuhan Yildiz" userId="90f344fc-4655-4923-aeaf-697bba59c1a7" providerId="ADAL" clId="{36790D39-2AF2-4FE2-8F3C-98932C7C5456}" dt="2020-05-22T01:14:35.379" v="277" actId="14100"/>
          <ac:graphicFrameMkLst>
            <pc:docMk/>
            <pc:sldMk cId="4206133277" sldId="577"/>
            <ac:graphicFrameMk id="3" creationId="{9484E1FE-7534-495E-863C-657A46F5E628}"/>
          </ac:graphicFrameMkLst>
        </pc:graphicFrameChg>
      </pc:sldChg>
      <pc:sldChg chg="modSp mod">
        <pc:chgData name="Batuhan Yildiz" userId="90f344fc-4655-4923-aeaf-697bba59c1a7" providerId="ADAL" clId="{36790D39-2AF2-4FE2-8F3C-98932C7C5456}" dt="2020-05-22T01:16:19.074" v="280" actId="1076"/>
        <pc:sldMkLst>
          <pc:docMk/>
          <pc:sldMk cId="3070814794" sldId="1469"/>
        </pc:sldMkLst>
        <pc:spChg chg="mod">
          <ac:chgData name="Batuhan Yildiz" userId="90f344fc-4655-4923-aeaf-697bba59c1a7" providerId="ADAL" clId="{36790D39-2AF2-4FE2-8F3C-98932C7C5456}" dt="2020-05-22T01:16:19.074" v="280" actId="1076"/>
          <ac:spMkLst>
            <pc:docMk/>
            <pc:sldMk cId="3070814794" sldId="1469"/>
            <ac:spMk id="3" creationId="{853C5D5E-3614-42C3-81BF-1E94044ADFBC}"/>
          </ac:spMkLst>
        </pc:spChg>
        <pc:spChg chg="mod">
          <ac:chgData name="Batuhan Yildiz" userId="90f344fc-4655-4923-aeaf-697bba59c1a7" providerId="ADAL" clId="{36790D39-2AF2-4FE2-8F3C-98932C7C5456}" dt="2020-05-22T01:16:19.074" v="280" actId="1076"/>
          <ac:spMkLst>
            <pc:docMk/>
            <pc:sldMk cId="3070814794" sldId="1469"/>
            <ac:spMk id="4" creationId="{0B9C3D5B-4A1D-4C37-BB09-82679FC99078}"/>
          </ac:spMkLst>
        </pc:spChg>
      </pc:sldChg>
      <pc:sldChg chg="modSp mod">
        <pc:chgData name="Batuhan Yildiz" userId="90f344fc-4655-4923-aeaf-697bba59c1a7" providerId="ADAL" clId="{36790D39-2AF2-4FE2-8F3C-98932C7C5456}" dt="2020-05-22T00:31:47.796" v="34" actId="947"/>
        <pc:sldMkLst>
          <pc:docMk/>
          <pc:sldMk cId="2554929962" sldId="1496"/>
        </pc:sldMkLst>
        <pc:spChg chg="mod">
          <ac:chgData name="Batuhan Yildiz" userId="90f344fc-4655-4923-aeaf-697bba59c1a7" providerId="ADAL" clId="{36790D39-2AF2-4FE2-8F3C-98932C7C5456}" dt="2020-05-22T00:31:47.796" v="34" actId="947"/>
          <ac:spMkLst>
            <pc:docMk/>
            <pc:sldMk cId="2554929962" sldId="1496"/>
            <ac:spMk id="5" creationId="{00000000-0000-0000-0000-000000000000}"/>
          </ac:spMkLst>
        </pc:spChg>
      </pc:sldChg>
      <pc:sldChg chg="addSp delSp modSp mod modClrScheme modAnim chgLayout">
        <pc:chgData name="Batuhan Yildiz" userId="90f344fc-4655-4923-aeaf-697bba59c1a7" providerId="ADAL" clId="{36790D39-2AF2-4FE2-8F3C-98932C7C5456}" dt="2020-05-22T00:29:59.381" v="16" actId="14100"/>
        <pc:sldMkLst>
          <pc:docMk/>
          <pc:sldMk cId="2558109578" sldId="1497"/>
        </pc:sldMkLst>
        <pc:spChg chg="mod">
          <ac:chgData name="Batuhan Yildiz" userId="90f344fc-4655-4923-aeaf-697bba59c1a7" providerId="ADAL" clId="{36790D39-2AF2-4FE2-8F3C-98932C7C5456}" dt="2020-05-22T00:29:44.014" v="14" actId="1076"/>
          <ac:spMkLst>
            <pc:docMk/>
            <pc:sldMk cId="2558109578" sldId="1497"/>
            <ac:spMk id="2" creationId="{508925ED-9510-43E8-8015-233243BBA421}"/>
          </ac:spMkLst>
        </pc:spChg>
        <pc:spChg chg="mod ord">
          <ac:chgData name="Batuhan Yildiz" userId="90f344fc-4655-4923-aeaf-697bba59c1a7" providerId="ADAL" clId="{36790D39-2AF2-4FE2-8F3C-98932C7C5456}" dt="2020-05-22T00:29:31.086" v="13" actId="700"/>
          <ac:spMkLst>
            <pc:docMk/>
            <pc:sldMk cId="2558109578" sldId="1497"/>
            <ac:spMk id="3" creationId="{00000000-0000-0000-0000-000000000000}"/>
          </ac:spMkLst>
        </pc:spChg>
        <pc:spChg chg="add del mod ord">
          <ac:chgData name="Batuhan Yildiz" userId="90f344fc-4655-4923-aeaf-697bba59c1a7" providerId="ADAL" clId="{36790D39-2AF2-4FE2-8F3C-98932C7C5456}" dt="2020-05-22T00:29:54.558" v="15" actId="478"/>
          <ac:spMkLst>
            <pc:docMk/>
            <pc:sldMk cId="2558109578" sldId="1497"/>
            <ac:spMk id="5" creationId="{F6BE75E5-872B-4BBD-BD4B-48BE405C7A94}"/>
          </ac:spMkLst>
        </pc:spChg>
        <pc:spChg chg="mod">
          <ac:chgData name="Batuhan Yildiz" userId="90f344fc-4655-4923-aeaf-697bba59c1a7" providerId="ADAL" clId="{36790D39-2AF2-4FE2-8F3C-98932C7C5456}" dt="2020-05-22T00:29:44.014" v="14" actId="1076"/>
          <ac:spMkLst>
            <pc:docMk/>
            <pc:sldMk cId="2558109578" sldId="1497"/>
            <ac:spMk id="7" creationId="{B01DFF02-1A95-47D1-9701-35BE6F2E8ABA}"/>
          </ac:spMkLst>
        </pc:spChg>
        <pc:spChg chg="mod">
          <ac:chgData name="Batuhan Yildiz" userId="90f344fc-4655-4923-aeaf-697bba59c1a7" providerId="ADAL" clId="{36790D39-2AF2-4FE2-8F3C-98932C7C5456}" dt="2020-05-22T00:29:44.014" v="14" actId="1076"/>
          <ac:spMkLst>
            <pc:docMk/>
            <pc:sldMk cId="2558109578" sldId="1497"/>
            <ac:spMk id="8" creationId="{4079E5A1-77C8-4B74-B747-647B47141F0C}"/>
          </ac:spMkLst>
        </pc:spChg>
        <pc:spChg chg="mod">
          <ac:chgData name="Batuhan Yildiz" userId="90f344fc-4655-4923-aeaf-697bba59c1a7" providerId="ADAL" clId="{36790D39-2AF2-4FE2-8F3C-98932C7C5456}" dt="2020-05-22T00:29:44.014" v="14" actId="1076"/>
          <ac:spMkLst>
            <pc:docMk/>
            <pc:sldMk cId="2558109578" sldId="1497"/>
            <ac:spMk id="9" creationId="{C69E21C2-4C59-414D-956B-6534ED10607A}"/>
          </ac:spMkLst>
        </pc:spChg>
        <pc:graphicFrameChg chg="mod">
          <ac:chgData name="Batuhan Yildiz" userId="90f344fc-4655-4923-aeaf-697bba59c1a7" providerId="ADAL" clId="{36790D39-2AF2-4FE2-8F3C-98932C7C5456}" dt="2020-05-22T00:29:59.381" v="16" actId="14100"/>
          <ac:graphicFrameMkLst>
            <pc:docMk/>
            <pc:sldMk cId="2558109578" sldId="1497"/>
            <ac:graphicFrameMk id="4" creationId="{00000000-0000-0000-0000-000000000000}"/>
          </ac:graphicFrameMkLst>
        </pc:graphicFrameChg>
      </pc:sldChg>
      <pc:sldChg chg="modSp mod modClrScheme chgLayout">
        <pc:chgData name="Batuhan Yildiz" userId="90f344fc-4655-4923-aeaf-697bba59c1a7" providerId="ADAL" clId="{36790D39-2AF2-4FE2-8F3C-98932C7C5456}" dt="2020-05-22T00:31:31.733" v="33" actId="947"/>
        <pc:sldMkLst>
          <pc:docMk/>
          <pc:sldMk cId="2688822629" sldId="1498"/>
        </pc:sldMkLst>
        <pc:spChg chg="mod ord">
          <ac:chgData name="Batuhan Yildiz" userId="90f344fc-4655-4923-aeaf-697bba59c1a7" providerId="ADAL" clId="{36790D39-2AF2-4FE2-8F3C-98932C7C5456}" dt="2020-05-22T00:31:31.733" v="33" actId="947"/>
          <ac:spMkLst>
            <pc:docMk/>
            <pc:sldMk cId="2688822629" sldId="1498"/>
            <ac:spMk id="2" creationId="{00000000-0000-0000-0000-000000000000}"/>
          </ac:spMkLst>
        </pc:spChg>
        <pc:spChg chg="mod ord">
          <ac:chgData name="Batuhan Yildiz" userId="90f344fc-4655-4923-aeaf-697bba59c1a7" providerId="ADAL" clId="{36790D39-2AF2-4FE2-8F3C-98932C7C5456}" dt="2020-05-22T00:30:46.372" v="23" actId="700"/>
          <ac:spMkLst>
            <pc:docMk/>
            <pc:sldMk cId="2688822629" sldId="1498"/>
            <ac:spMk id="3" creationId="{00000000-0000-0000-0000-000000000000}"/>
          </ac:spMkLst>
        </pc:spChg>
      </pc:sldChg>
      <pc:sldChg chg="addSp delSp modSp mod modClrScheme chgLayout">
        <pc:chgData name="Batuhan Yildiz" userId="90f344fc-4655-4923-aeaf-697bba59c1a7" providerId="ADAL" clId="{36790D39-2AF2-4FE2-8F3C-98932C7C5456}" dt="2020-05-22T00:34:56.126" v="51" actId="12100"/>
        <pc:sldMkLst>
          <pc:docMk/>
          <pc:sldMk cId="4239965378" sldId="1500"/>
        </pc:sldMkLst>
        <pc:spChg chg="mod ord">
          <ac:chgData name="Batuhan Yildiz" userId="90f344fc-4655-4923-aeaf-697bba59c1a7" providerId="ADAL" clId="{36790D39-2AF2-4FE2-8F3C-98932C7C5456}" dt="2020-05-22T00:32:54.498" v="35" actId="700"/>
          <ac:spMkLst>
            <pc:docMk/>
            <pc:sldMk cId="4239965378" sldId="1500"/>
            <ac:spMk id="4" creationId="{00000000-0000-0000-0000-000000000000}"/>
          </ac:spMkLst>
        </pc:spChg>
        <pc:spChg chg="del mod ord">
          <ac:chgData name="Batuhan Yildiz" userId="90f344fc-4655-4923-aeaf-697bba59c1a7" providerId="ADAL" clId="{36790D39-2AF2-4FE2-8F3C-98932C7C5456}" dt="2020-05-22T00:34:08.260" v="43" actId="12084"/>
          <ac:spMkLst>
            <pc:docMk/>
            <pc:sldMk cId="4239965378" sldId="1500"/>
            <ac:spMk id="5" creationId="{00000000-0000-0000-0000-000000000000}"/>
          </ac:spMkLst>
        </pc:spChg>
        <pc:spChg chg="del mod ord">
          <ac:chgData name="Batuhan Yildiz" userId="90f344fc-4655-4923-aeaf-697bba59c1a7" providerId="ADAL" clId="{36790D39-2AF2-4FE2-8F3C-98932C7C5456}" dt="2020-05-22T00:32:58.748" v="36" actId="478"/>
          <ac:spMkLst>
            <pc:docMk/>
            <pc:sldMk cId="4239965378" sldId="1500"/>
            <ac:spMk id="6" creationId="{00000000-0000-0000-0000-000000000000}"/>
          </ac:spMkLst>
        </pc:spChg>
        <pc:graphicFrameChg chg="add mod">
          <ac:chgData name="Batuhan Yildiz" userId="90f344fc-4655-4923-aeaf-697bba59c1a7" providerId="ADAL" clId="{36790D39-2AF2-4FE2-8F3C-98932C7C5456}" dt="2020-05-22T00:34:56.126" v="51" actId="12100"/>
          <ac:graphicFrameMkLst>
            <pc:docMk/>
            <pc:sldMk cId="4239965378" sldId="1500"/>
            <ac:graphicFrameMk id="2" creationId="{0D89EE5E-0829-4FC2-8A0D-9BE67EA4A5F7}"/>
          </ac:graphicFrameMkLst>
        </pc:graphicFrameChg>
      </pc:sldChg>
      <pc:sldChg chg="modSp mod modClrScheme chgLayout">
        <pc:chgData name="Batuhan Yildiz" userId="90f344fc-4655-4923-aeaf-697bba59c1a7" providerId="ADAL" clId="{36790D39-2AF2-4FE2-8F3C-98932C7C5456}" dt="2020-05-22T00:39:54.982" v="83" actId="700"/>
        <pc:sldMkLst>
          <pc:docMk/>
          <pc:sldMk cId="283361127" sldId="1501"/>
        </pc:sldMkLst>
        <pc:spChg chg="mod ord">
          <ac:chgData name="Batuhan Yildiz" userId="90f344fc-4655-4923-aeaf-697bba59c1a7" providerId="ADAL" clId="{36790D39-2AF2-4FE2-8F3C-98932C7C5456}" dt="2020-05-22T00:39:54.982" v="83" actId="700"/>
          <ac:spMkLst>
            <pc:docMk/>
            <pc:sldMk cId="283361127" sldId="1501"/>
            <ac:spMk id="4" creationId="{00000000-0000-0000-0000-000000000000}"/>
          </ac:spMkLst>
        </pc:spChg>
        <pc:spChg chg="mod ord">
          <ac:chgData name="Batuhan Yildiz" userId="90f344fc-4655-4923-aeaf-697bba59c1a7" providerId="ADAL" clId="{36790D39-2AF2-4FE2-8F3C-98932C7C5456}" dt="2020-05-22T00:39:54.982" v="83" actId="700"/>
          <ac:spMkLst>
            <pc:docMk/>
            <pc:sldMk cId="283361127" sldId="1501"/>
            <ac:spMk id="5" creationId="{00000000-0000-0000-0000-000000000000}"/>
          </ac:spMkLst>
        </pc:spChg>
      </pc:sldChg>
      <pc:sldChg chg="modSp mod modClrScheme chgLayout">
        <pc:chgData name="Batuhan Yildiz" userId="90f344fc-4655-4923-aeaf-697bba59c1a7" providerId="ADAL" clId="{36790D39-2AF2-4FE2-8F3C-98932C7C5456}" dt="2020-05-22T00:40:10.714" v="84" actId="700"/>
        <pc:sldMkLst>
          <pc:docMk/>
          <pc:sldMk cId="504506194" sldId="1502"/>
        </pc:sldMkLst>
        <pc:spChg chg="mod ord">
          <ac:chgData name="Batuhan Yildiz" userId="90f344fc-4655-4923-aeaf-697bba59c1a7" providerId="ADAL" clId="{36790D39-2AF2-4FE2-8F3C-98932C7C5456}" dt="2020-05-22T00:40:10.714" v="84" actId="700"/>
          <ac:spMkLst>
            <pc:docMk/>
            <pc:sldMk cId="504506194" sldId="1502"/>
            <ac:spMk id="2" creationId="{00000000-0000-0000-0000-000000000000}"/>
          </ac:spMkLst>
        </pc:spChg>
        <pc:spChg chg="mod ord">
          <ac:chgData name="Batuhan Yildiz" userId="90f344fc-4655-4923-aeaf-697bba59c1a7" providerId="ADAL" clId="{36790D39-2AF2-4FE2-8F3C-98932C7C5456}" dt="2020-05-22T00:40:10.714" v="84" actId="700"/>
          <ac:spMkLst>
            <pc:docMk/>
            <pc:sldMk cId="504506194" sldId="1502"/>
            <ac:spMk id="3" creationId="{00000000-0000-0000-0000-000000000000}"/>
          </ac:spMkLst>
        </pc:spChg>
      </pc:sldChg>
      <pc:sldChg chg="modSp mod modClrScheme chgLayout">
        <pc:chgData name="Batuhan Yildiz" userId="90f344fc-4655-4923-aeaf-697bba59c1a7" providerId="ADAL" clId="{36790D39-2AF2-4FE2-8F3C-98932C7C5456}" dt="2020-05-22T00:41:03.374" v="86" actId="12100"/>
        <pc:sldMkLst>
          <pc:docMk/>
          <pc:sldMk cId="2981336413" sldId="1504"/>
        </pc:sldMkLst>
        <pc:spChg chg="mod ord">
          <ac:chgData name="Batuhan Yildiz" userId="90f344fc-4655-4923-aeaf-697bba59c1a7" providerId="ADAL" clId="{36790D39-2AF2-4FE2-8F3C-98932C7C5456}" dt="2020-05-22T00:40:50.895" v="85" actId="700"/>
          <ac:spMkLst>
            <pc:docMk/>
            <pc:sldMk cId="2981336413" sldId="1504"/>
            <ac:spMk id="2" creationId="{00000000-0000-0000-0000-000000000000}"/>
          </ac:spMkLst>
        </pc:spChg>
        <pc:spChg chg="mod ord">
          <ac:chgData name="Batuhan Yildiz" userId="90f344fc-4655-4923-aeaf-697bba59c1a7" providerId="ADAL" clId="{36790D39-2AF2-4FE2-8F3C-98932C7C5456}" dt="2020-05-22T00:40:50.895" v="85" actId="700"/>
          <ac:spMkLst>
            <pc:docMk/>
            <pc:sldMk cId="2981336413" sldId="1504"/>
            <ac:spMk id="3" creationId="{00000000-0000-0000-0000-000000000000}"/>
          </ac:spMkLst>
        </pc:spChg>
        <pc:graphicFrameChg chg="mod">
          <ac:chgData name="Batuhan Yildiz" userId="90f344fc-4655-4923-aeaf-697bba59c1a7" providerId="ADAL" clId="{36790D39-2AF2-4FE2-8F3C-98932C7C5456}" dt="2020-05-22T00:41:03.374" v="86" actId="12100"/>
          <ac:graphicFrameMkLst>
            <pc:docMk/>
            <pc:sldMk cId="2981336413" sldId="1504"/>
            <ac:graphicFrameMk id="6" creationId="{00000000-0000-0000-0000-000000000000}"/>
          </ac:graphicFrameMkLst>
        </pc:graphicFrameChg>
      </pc:sldChg>
      <pc:sldChg chg="addSp delSp modSp mod modClrScheme chgLayout">
        <pc:chgData name="Batuhan Yildiz" userId="90f344fc-4655-4923-aeaf-697bba59c1a7" providerId="ADAL" clId="{36790D39-2AF2-4FE2-8F3C-98932C7C5456}" dt="2020-05-22T00:42:25.408" v="96" actId="478"/>
        <pc:sldMkLst>
          <pc:docMk/>
          <pc:sldMk cId="2113811152" sldId="1507"/>
        </pc:sldMkLst>
        <pc:spChg chg="add del mod ord">
          <ac:chgData name="Batuhan Yildiz" userId="90f344fc-4655-4923-aeaf-697bba59c1a7" providerId="ADAL" clId="{36790D39-2AF2-4FE2-8F3C-98932C7C5456}" dt="2020-05-22T00:42:25.408" v="96" actId="478"/>
          <ac:spMkLst>
            <pc:docMk/>
            <pc:sldMk cId="2113811152" sldId="1507"/>
            <ac:spMk id="2" creationId="{7C13D637-443F-4D00-8E6B-3EB4C57369A8}"/>
          </ac:spMkLst>
        </pc:spChg>
        <pc:spChg chg="mod ord">
          <ac:chgData name="Batuhan Yildiz" userId="90f344fc-4655-4923-aeaf-697bba59c1a7" providerId="ADAL" clId="{36790D39-2AF2-4FE2-8F3C-98932C7C5456}" dt="2020-05-22T00:41:30.465" v="89" actId="700"/>
          <ac:spMkLst>
            <pc:docMk/>
            <pc:sldMk cId="2113811152" sldId="1507"/>
            <ac:spMk id="3" creationId="{00000000-0000-0000-0000-000000000000}"/>
          </ac:spMkLst>
        </pc:spChg>
        <pc:graphicFrameChg chg="mod">
          <ac:chgData name="Batuhan Yildiz" userId="90f344fc-4655-4923-aeaf-697bba59c1a7" providerId="ADAL" clId="{36790D39-2AF2-4FE2-8F3C-98932C7C5456}" dt="2020-05-22T00:42:17.982" v="95" actId="12100"/>
          <ac:graphicFrameMkLst>
            <pc:docMk/>
            <pc:sldMk cId="2113811152" sldId="1507"/>
            <ac:graphicFrameMk id="4" creationId="{00000000-0000-0000-0000-000000000000}"/>
          </ac:graphicFrameMkLst>
        </pc:graphicFrameChg>
      </pc:sldChg>
      <pc:sldChg chg="addSp delSp modSp mod modClrScheme chgLayout">
        <pc:chgData name="Batuhan Yildiz" userId="90f344fc-4655-4923-aeaf-697bba59c1a7" providerId="ADAL" clId="{36790D39-2AF2-4FE2-8F3C-98932C7C5456}" dt="2020-05-22T00:45:55.986" v="120" actId="12100"/>
        <pc:sldMkLst>
          <pc:docMk/>
          <pc:sldMk cId="287339966" sldId="1508"/>
        </pc:sldMkLst>
        <pc:spChg chg="add del mod ord">
          <ac:chgData name="Batuhan Yildiz" userId="90f344fc-4655-4923-aeaf-697bba59c1a7" providerId="ADAL" clId="{36790D39-2AF2-4FE2-8F3C-98932C7C5456}" dt="2020-05-22T00:44:22.465" v="108" actId="478"/>
          <ac:spMkLst>
            <pc:docMk/>
            <pc:sldMk cId="287339966" sldId="1508"/>
            <ac:spMk id="2" creationId="{FE71A350-DA2F-4015-9749-638B08F95603}"/>
          </ac:spMkLst>
        </pc:spChg>
        <pc:spChg chg="mod ord">
          <ac:chgData name="Batuhan Yildiz" userId="90f344fc-4655-4923-aeaf-697bba59c1a7" providerId="ADAL" clId="{36790D39-2AF2-4FE2-8F3C-98932C7C5456}" dt="2020-05-22T00:42:34.921" v="97" actId="700"/>
          <ac:spMkLst>
            <pc:docMk/>
            <pc:sldMk cId="287339966" sldId="1508"/>
            <ac:spMk id="3" creationId="{00000000-0000-0000-0000-000000000000}"/>
          </ac:spMkLst>
        </pc:spChg>
        <pc:graphicFrameChg chg="mod">
          <ac:chgData name="Batuhan Yildiz" userId="90f344fc-4655-4923-aeaf-697bba59c1a7" providerId="ADAL" clId="{36790D39-2AF2-4FE2-8F3C-98932C7C5456}" dt="2020-05-22T00:45:55.986" v="120" actId="12100"/>
          <ac:graphicFrameMkLst>
            <pc:docMk/>
            <pc:sldMk cId="287339966" sldId="1508"/>
            <ac:graphicFrameMk id="5" creationId="{00000000-0000-0000-0000-000000000000}"/>
          </ac:graphicFrameMkLst>
        </pc:graphicFrameChg>
      </pc:sldChg>
      <pc:sldChg chg="addSp delSp modSp mod modClrScheme chgLayout">
        <pc:chgData name="Batuhan Yildiz" userId="90f344fc-4655-4923-aeaf-697bba59c1a7" providerId="ADAL" clId="{36790D39-2AF2-4FE2-8F3C-98932C7C5456}" dt="2020-05-22T01:15:10.235" v="279" actId="14100"/>
        <pc:sldMkLst>
          <pc:docMk/>
          <pc:sldMk cId="642886057" sldId="1510"/>
        </pc:sldMkLst>
        <pc:spChg chg="mod ord">
          <ac:chgData name="Batuhan Yildiz" userId="90f344fc-4655-4923-aeaf-697bba59c1a7" providerId="ADAL" clId="{36790D39-2AF2-4FE2-8F3C-98932C7C5456}" dt="2020-05-22T00:52:55.821" v="150" actId="700"/>
          <ac:spMkLst>
            <pc:docMk/>
            <pc:sldMk cId="642886057" sldId="1510"/>
            <ac:spMk id="5" creationId="{00000000-0000-0000-0000-000000000000}"/>
          </ac:spMkLst>
        </pc:spChg>
        <pc:spChg chg="del mod ord">
          <ac:chgData name="Batuhan Yildiz" userId="90f344fc-4655-4923-aeaf-697bba59c1a7" providerId="ADAL" clId="{36790D39-2AF2-4FE2-8F3C-98932C7C5456}" dt="2020-05-22T00:54:26.693" v="163" actId="12084"/>
          <ac:spMkLst>
            <pc:docMk/>
            <pc:sldMk cId="642886057" sldId="1510"/>
            <ac:spMk id="6" creationId="{00000000-0000-0000-0000-000000000000}"/>
          </ac:spMkLst>
        </pc:spChg>
        <pc:graphicFrameChg chg="add mod">
          <ac:chgData name="Batuhan Yildiz" userId="90f344fc-4655-4923-aeaf-697bba59c1a7" providerId="ADAL" clId="{36790D39-2AF2-4FE2-8F3C-98932C7C5456}" dt="2020-05-22T01:15:10.235" v="279" actId="14100"/>
          <ac:graphicFrameMkLst>
            <pc:docMk/>
            <pc:sldMk cId="642886057" sldId="1510"/>
            <ac:graphicFrameMk id="2" creationId="{AD8E23FE-52E9-4CAF-8940-DA08F1362748}"/>
          </ac:graphicFrameMkLst>
        </pc:graphicFrameChg>
        <pc:graphicFrameChg chg="add del mod ord">
          <ac:chgData name="Batuhan Yildiz" userId="90f344fc-4655-4923-aeaf-697bba59c1a7" providerId="ADAL" clId="{36790D39-2AF2-4FE2-8F3C-98932C7C5456}" dt="2020-05-22T00:54:14.482" v="162" actId="478"/>
          <ac:graphicFrameMkLst>
            <pc:docMk/>
            <pc:sldMk cId="642886057" sldId="1510"/>
            <ac:graphicFrameMk id="4" creationId="{176F67F6-765E-408A-A226-8F260B5419A4}"/>
          </ac:graphicFrameMkLst>
        </pc:graphicFrameChg>
      </pc:sldChg>
      <pc:sldChg chg="addSp delSp modSp mod setBg modClrScheme chgLayout">
        <pc:chgData name="Batuhan Yildiz" userId="90f344fc-4655-4923-aeaf-697bba59c1a7" providerId="ADAL" clId="{36790D39-2AF2-4FE2-8F3C-98932C7C5456}" dt="2020-05-22T01:05:29.549" v="222"/>
        <pc:sldMkLst>
          <pc:docMk/>
          <pc:sldMk cId="3718892951" sldId="1512"/>
        </pc:sldMkLst>
        <pc:spChg chg="mod ord">
          <ac:chgData name="Batuhan Yildiz" userId="90f344fc-4655-4923-aeaf-697bba59c1a7" providerId="ADAL" clId="{36790D39-2AF2-4FE2-8F3C-98932C7C5456}" dt="2020-05-22T01:05:01.169" v="220"/>
          <ac:spMkLst>
            <pc:docMk/>
            <pc:sldMk cId="3718892951" sldId="1512"/>
            <ac:spMk id="2" creationId="{5A79A6D8-BA9C-4C2E-8D8C-B8163FE65119}"/>
          </ac:spMkLst>
        </pc:spChg>
        <pc:spChg chg="add del mod ord">
          <ac:chgData name="Batuhan Yildiz" userId="90f344fc-4655-4923-aeaf-697bba59c1a7" providerId="ADAL" clId="{36790D39-2AF2-4FE2-8F3C-98932C7C5456}" dt="2020-05-22T00:59:15.608" v="195" actId="22"/>
          <ac:spMkLst>
            <pc:docMk/>
            <pc:sldMk cId="3718892951" sldId="1512"/>
            <ac:spMk id="3" creationId="{8E1CC027-A739-4C62-A126-03CBB087B4E0}"/>
          </ac:spMkLst>
        </pc:spChg>
        <pc:spChg chg="mod ord">
          <ac:chgData name="Batuhan Yildiz" userId="90f344fc-4655-4923-aeaf-697bba59c1a7" providerId="ADAL" clId="{36790D39-2AF2-4FE2-8F3C-98932C7C5456}" dt="2020-05-22T01:05:01.169" v="220"/>
          <ac:spMkLst>
            <pc:docMk/>
            <pc:sldMk cId="3718892951" sldId="1512"/>
            <ac:spMk id="5" creationId="{00000000-0000-0000-0000-000000000000}"/>
          </ac:spMkLst>
        </pc:spChg>
        <pc:graphicFrameChg chg="add mod">
          <ac:chgData name="Batuhan Yildiz" userId="90f344fc-4655-4923-aeaf-697bba59c1a7" providerId="ADAL" clId="{36790D39-2AF2-4FE2-8F3C-98932C7C5456}" dt="2020-05-22T01:05:29.549" v="222"/>
          <ac:graphicFrameMkLst>
            <pc:docMk/>
            <pc:sldMk cId="3718892951" sldId="1512"/>
            <ac:graphicFrameMk id="4" creationId="{30F04924-6A12-4B39-8448-1062E7D63EB4}"/>
          </ac:graphicFrameMkLst>
        </pc:graphicFrameChg>
        <pc:graphicFrameChg chg="del">
          <ac:chgData name="Batuhan Yildiz" userId="90f344fc-4655-4923-aeaf-697bba59c1a7" providerId="ADAL" clId="{36790D39-2AF2-4FE2-8F3C-98932C7C5456}" dt="2020-05-22T00:59:12.959" v="194" actId="21"/>
          <ac:graphicFrameMkLst>
            <pc:docMk/>
            <pc:sldMk cId="3718892951" sldId="1512"/>
            <ac:graphicFrameMk id="8" creationId="{00000000-0000-0000-0000-000000000000}"/>
          </ac:graphicFrameMkLst>
        </pc:graphicFrameChg>
      </pc:sldChg>
      <pc:sldChg chg="addSp delSp modSp mod setBg modClrScheme chgLayout">
        <pc:chgData name="Batuhan Yildiz" userId="90f344fc-4655-4923-aeaf-697bba59c1a7" providerId="ADAL" clId="{36790D39-2AF2-4FE2-8F3C-98932C7C5456}" dt="2020-05-22T01:05:46.922" v="225" actId="108"/>
        <pc:sldMkLst>
          <pc:docMk/>
          <pc:sldMk cId="1249006586" sldId="1513"/>
        </pc:sldMkLst>
        <pc:spChg chg="add del mod ord">
          <ac:chgData name="Batuhan Yildiz" userId="90f344fc-4655-4923-aeaf-697bba59c1a7" providerId="ADAL" clId="{36790D39-2AF2-4FE2-8F3C-98932C7C5456}" dt="2020-05-22T01:03:45.945" v="214" actId="22"/>
          <ac:spMkLst>
            <pc:docMk/>
            <pc:sldMk cId="1249006586" sldId="1513"/>
            <ac:spMk id="2" creationId="{A729451C-ACF4-493A-B7A3-819D6A8F2804}"/>
          </ac:spMkLst>
        </pc:spChg>
        <pc:spChg chg="mod ord">
          <ac:chgData name="Batuhan Yildiz" userId="90f344fc-4655-4923-aeaf-697bba59c1a7" providerId="ADAL" clId="{36790D39-2AF2-4FE2-8F3C-98932C7C5456}" dt="2020-05-22T01:04:47.533" v="219"/>
          <ac:spMkLst>
            <pc:docMk/>
            <pc:sldMk cId="1249006586" sldId="1513"/>
            <ac:spMk id="3" creationId="{00000000-0000-0000-0000-000000000000}"/>
          </ac:spMkLst>
        </pc:spChg>
        <pc:spChg chg="mod ord">
          <ac:chgData name="Batuhan Yildiz" userId="90f344fc-4655-4923-aeaf-697bba59c1a7" providerId="ADAL" clId="{36790D39-2AF2-4FE2-8F3C-98932C7C5456}" dt="2020-05-22T01:04:47.533" v="219"/>
          <ac:spMkLst>
            <pc:docMk/>
            <pc:sldMk cId="1249006586" sldId="1513"/>
            <ac:spMk id="5" creationId="{E7052AC0-F04D-429B-B8C9-4E77807F3B9C}"/>
          </ac:spMkLst>
        </pc:spChg>
        <pc:graphicFrameChg chg="add mod">
          <ac:chgData name="Batuhan Yildiz" userId="90f344fc-4655-4923-aeaf-697bba59c1a7" providerId="ADAL" clId="{36790D39-2AF2-4FE2-8F3C-98932C7C5456}" dt="2020-05-22T01:05:46.922" v="225" actId="108"/>
          <ac:graphicFrameMkLst>
            <pc:docMk/>
            <pc:sldMk cId="1249006586" sldId="1513"/>
            <ac:graphicFrameMk id="4" creationId="{A5D88430-D240-428A-83CA-2329A0209FE5}"/>
          </ac:graphicFrameMkLst>
        </pc:graphicFrameChg>
        <pc:graphicFrameChg chg="del">
          <ac:chgData name="Batuhan Yildiz" userId="90f344fc-4655-4923-aeaf-697bba59c1a7" providerId="ADAL" clId="{36790D39-2AF2-4FE2-8F3C-98932C7C5456}" dt="2020-05-22T01:03:42.718" v="213" actId="478"/>
          <ac:graphicFrameMkLst>
            <pc:docMk/>
            <pc:sldMk cId="1249006586" sldId="1513"/>
            <ac:graphicFrameMk id="8" creationId="{00000000-0000-0000-0000-000000000000}"/>
          </ac:graphicFrameMkLst>
        </pc:graphicFrameChg>
      </pc:sldChg>
      <pc:sldChg chg="addSp delSp modSp mod modClrScheme chgLayout">
        <pc:chgData name="Batuhan Yildiz" userId="90f344fc-4655-4923-aeaf-697bba59c1a7" providerId="ADAL" clId="{36790D39-2AF2-4FE2-8F3C-98932C7C5456}" dt="2020-05-22T01:08:02.814" v="247" actId="14100"/>
        <pc:sldMkLst>
          <pc:docMk/>
          <pc:sldMk cId="677637481" sldId="1514"/>
        </pc:sldMkLst>
        <pc:spChg chg="add mod ord">
          <ac:chgData name="Batuhan Yildiz" userId="90f344fc-4655-4923-aeaf-697bba59c1a7" providerId="ADAL" clId="{36790D39-2AF2-4FE2-8F3C-98932C7C5456}" dt="2020-05-22T01:07:22.187" v="238" actId="20577"/>
          <ac:spMkLst>
            <pc:docMk/>
            <pc:sldMk cId="677637481" sldId="1514"/>
            <ac:spMk id="2" creationId="{08E2A0DE-826E-4577-87CD-4426EB46827C}"/>
          </ac:spMkLst>
        </pc:spChg>
        <pc:spChg chg="mod ord">
          <ac:chgData name="Batuhan Yildiz" userId="90f344fc-4655-4923-aeaf-697bba59c1a7" providerId="ADAL" clId="{36790D39-2AF2-4FE2-8F3C-98932C7C5456}" dt="2020-05-22T01:07:02.045" v="235" actId="700"/>
          <ac:spMkLst>
            <pc:docMk/>
            <pc:sldMk cId="677637481" sldId="1514"/>
            <ac:spMk id="3" creationId="{00000000-0000-0000-0000-000000000000}"/>
          </ac:spMkLst>
        </pc:spChg>
        <pc:spChg chg="del">
          <ac:chgData name="Batuhan Yildiz" userId="90f344fc-4655-4923-aeaf-697bba59c1a7" providerId="ADAL" clId="{36790D39-2AF2-4FE2-8F3C-98932C7C5456}" dt="2020-05-22T01:07:17.023" v="236" actId="478"/>
          <ac:spMkLst>
            <pc:docMk/>
            <pc:sldMk cId="677637481" sldId="1514"/>
            <ac:spMk id="4" creationId="{AF01F6FC-E052-488D-9401-0F977342CB22}"/>
          </ac:spMkLst>
        </pc:spChg>
        <pc:spChg chg="add del mod ord">
          <ac:chgData name="Batuhan Yildiz" userId="90f344fc-4655-4923-aeaf-697bba59c1a7" providerId="ADAL" clId="{36790D39-2AF2-4FE2-8F3C-98932C7C5456}" dt="2020-05-22T01:07:40.726" v="240" actId="22"/>
          <ac:spMkLst>
            <pc:docMk/>
            <pc:sldMk cId="677637481" sldId="1514"/>
            <ac:spMk id="5" creationId="{45F3F130-8EA2-4204-9612-20E137ACE568}"/>
          </ac:spMkLst>
        </pc:spChg>
        <pc:graphicFrameChg chg="add mod">
          <ac:chgData name="Batuhan Yildiz" userId="90f344fc-4655-4923-aeaf-697bba59c1a7" providerId="ADAL" clId="{36790D39-2AF2-4FE2-8F3C-98932C7C5456}" dt="2020-05-22T01:08:02.814" v="247" actId="14100"/>
          <ac:graphicFrameMkLst>
            <pc:docMk/>
            <pc:sldMk cId="677637481" sldId="1514"/>
            <ac:graphicFrameMk id="6" creationId="{B7571160-A6EA-4663-ACC9-269EEAFBEA6D}"/>
          </ac:graphicFrameMkLst>
        </pc:graphicFrameChg>
        <pc:graphicFrameChg chg="del">
          <ac:chgData name="Batuhan Yildiz" userId="90f344fc-4655-4923-aeaf-697bba59c1a7" providerId="ADAL" clId="{36790D39-2AF2-4FE2-8F3C-98932C7C5456}" dt="2020-05-22T01:07:38.467" v="239" actId="21"/>
          <ac:graphicFrameMkLst>
            <pc:docMk/>
            <pc:sldMk cId="677637481" sldId="1514"/>
            <ac:graphicFrameMk id="7" creationId="{00000000-0000-0000-0000-000000000000}"/>
          </ac:graphicFrameMkLst>
        </pc:graphicFrameChg>
      </pc:sldChg>
      <pc:sldChg chg="addSp delSp modSp mod setBg chgLayout">
        <pc:chgData name="Batuhan Yildiz" userId="90f344fc-4655-4923-aeaf-697bba59c1a7" providerId="ADAL" clId="{36790D39-2AF2-4FE2-8F3C-98932C7C5456}" dt="2020-05-22T01:06:42.707" v="234" actId="14100"/>
        <pc:sldMkLst>
          <pc:docMk/>
          <pc:sldMk cId="2772002599" sldId="1515"/>
        </pc:sldMkLst>
        <pc:spChg chg="add del mod ord">
          <ac:chgData name="Batuhan Yildiz" userId="90f344fc-4655-4923-aeaf-697bba59c1a7" providerId="ADAL" clId="{36790D39-2AF2-4FE2-8F3C-98932C7C5456}" dt="2020-05-22T01:06:12.831" v="228" actId="22"/>
          <ac:spMkLst>
            <pc:docMk/>
            <pc:sldMk cId="2772002599" sldId="1515"/>
            <ac:spMk id="2" creationId="{A7F761A9-3A0F-4EF4-8D6B-6055F4D52B3E}"/>
          </ac:spMkLst>
        </pc:spChg>
        <pc:spChg chg="mod ord">
          <ac:chgData name="Batuhan Yildiz" userId="90f344fc-4655-4923-aeaf-697bba59c1a7" providerId="ADAL" clId="{36790D39-2AF2-4FE2-8F3C-98932C7C5456}" dt="2020-05-22T01:06:03.620" v="226" actId="700"/>
          <ac:spMkLst>
            <pc:docMk/>
            <pc:sldMk cId="2772002599" sldId="1515"/>
            <ac:spMk id="3" creationId="{00000000-0000-0000-0000-000000000000}"/>
          </ac:spMkLst>
        </pc:spChg>
        <pc:spChg chg="mod ord">
          <ac:chgData name="Batuhan Yildiz" userId="90f344fc-4655-4923-aeaf-697bba59c1a7" providerId="ADAL" clId="{36790D39-2AF2-4FE2-8F3C-98932C7C5456}" dt="2020-05-22T01:06:03.620" v="226" actId="700"/>
          <ac:spMkLst>
            <pc:docMk/>
            <pc:sldMk cId="2772002599" sldId="1515"/>
            <ac:spMk id="6" creationId="{631F7F91-2B77-4056-9748-A57401DB2B81}"/>
          </ac:spMkLst>
        </pc:spChg>
        <pc:graphicFrameChg chg="add mod">
          <ac:chgData name="Batuhan Yildiz" userId="90f344fc-4655-4923-aeaf-697bba59c1a7" providerId="ADAL" clId="{36790D39-2AF2-4FE2-8F3C-98932C7C5456}" dt="2020-05-22T01:06:42.707" v="234" actId="14100"/>
          <ac:graphicFrameMkLst>
            <pc:docMk/>
            <pc:sldMk cId="2772002599" sldId="1515"/>
            <ac:graphicFrameMk id="4" creationId="{83095CBB-A089-4C2F-AD4F-832638CA2D47}"/>
          </ac:graphicFrameMkLst>
        </pc:graphicFrameChg>
        <pc:graphicFrameChg chg="del">
          <ac:chgData name="Batuhan Yildiz" userId="90f344fc-4655-4923-aeaf-697bba59c1a7" providerId="ADAL" clId="{36790D39-2AF2-4FE2-8F3C-98932C7C5456}" dt="2020-05-22T01:06:10.295" v="227" actId="21"/>
          <ac:graphicFrameMkLst>
            <pc:docMk/>
            <pc:sldMk cId="2772002599" sldId="1515"/>
            <ac:graphicFrameMk id="5" creationId="{00000000-0000-0000-0000-000000000000}"/>
          </ac:graphicFrameMkLst>
        </pc:graphicFrameChg>
      </pc:sldChg>
      <pc:sldChg chg="addSp delSp modSp mod modClrScheme chgLayout">
        <pc:chgData name="Batuhan Yildiz" userId="90f344fc-4655-4923-aeaf-697bba59c1a7" providerId="ADAL" clId="{36790D39-2AF2-4FE2-8F3C-98932C7C5456}" dt="2020-05-22T00:37:56.382" v="76" actId="14100"/>
        <pc:sldMkLst>
          <pc:docMk/>
          <pc:sldMk cId="1708757965" sldId="1535"/>
        </pc:sldMkLst>
        <pc:spChg chg="mod ord">
          <ac:chgData name="Batuhan Yildiz" userId="90f344fc-4655-4923-aeaf-697bba59c1a7" providerId="ADAL" clId="{36790D39-2AF2-4FE2-8F3C-98932C7C5456}" dt="2020-05-22T00:36:49.929" v="60" actId="700"/>
          <ac:spMkLst>
            <pc:docMk/>
            <pc:sldMk cId="1708757965" sldId="1535"/>
            <ac:spMk id="7" creationId="{00000000-0000-0000-0000-000000000000}"/>
          </ac:spMkLst>
        </pc:spChg>
        <pc:spChg chg="del mod ord">
          <ac:chgData name="Batuhan Yildiz" userId="90f344fc-4655-4923-aeaf-697bba59c1a7" providerId="ADAL" clId="{36790D39-2AF2-4FE2-8F3C-98932C7C5456}" dt="2020-05-22T00:36:05.729" v="54" actId="12084"/>
          <ac:spMkLst>
            <pc:docMk/>
            <pc:sldMk cId="1708757965" sldId="1535"/>
            <ac:spMk id="8" creationId="{00000000-0000-0000-0000-000000000000}"/>
          </ac:spMkLst>
        </pc:spChg>
        <pc:graphicFrameChg chg="add mod ord">
          <ac:chgData name="Batuhan Yildiz" userId="90f344fc-4655-4923-aeaf-697bba59c1a7" providerId="ADAL" clId="{36790D39-2AF2-4FE2-8F3C-98932C7C5456}" dt="2020-05-22T00:37:56.382" v="76" actId="14100"/>
          <ac:graphicFrameMkLst>
            <pc:docMk/>
            <pc:sldMk cId="1708757965" sldId="1535"/>
            <ac:graphicFrameMk id="2" creationId="{69E14DDC-DD3E-494F-BA44-6C3034737461}"/>
          </ac:graphicFrameMkLst>
        </pc:graphicFrameChg>
      </pc:sldChg>
      <pc:sldChg chg="modSp mod modClrScheme chgLayout">
        <pc:chgData name="Batuhan Yildiz" userId="90f344fc-4655-4923-aeaf-697bba59c1a7" providerId="ADAL" clId="{36790D39-2AF2-4FE2-8F3C-98932C7C5456}" dt="2020-05-22T00:38:38.778" v="79" actId="947"/>
        <pc:sldMkLst>
          <pc:docMk/>
          <pc:sldMk cId="3007240879" sldId="1536"/>
        </pc:sldMkLst>
        <pc:spChg chg="mod ord">
          <ac:chgData name="Batuhan Yildiz" userId="90f344fc-4655-4923-aeaf-697bba59c1a7" providerId="ADAL" clId="{36790D39-2AF2-4FE2-8F3C-98932C7C5456}" dt="2020-05-22T00:38:38.778" v="79" actId="947"/>
          <ac:spMkLst>
            <pc:docMk/>
            <pc:sldMk cId="3007240879" sldId="1536"/>
            <ac:spMk id="2" creationId="{00000000-0000-0000-0000-000000000000}"/>
          </ac:spMkLst>
        </pc:spChg>
        <pc:spChg chg="mod ord">
          <ac:chgData name="Batuhan Yildiz" userId="90f344fc-4655-4923-aeaf-697bba59c1a7" providerId="ADAL" clId="{36790D39-2AF2-4FE2-8F3C-98932C7C5456}" dt="2020-05-22T00:38:06.900" v="77" actId="700"/>
          <ac:spMkLst>
            <pc:docMk/>
            <pc:sldMk cId="3007240879" sldId="1536"/>
            <ac:spMk id="3" creationId="{00000000-0000-0000-0000-000000000000}"/>
          </ac:spMkLst>
        </pc:spChg>
      </pc:sldChg>
      <pc:sldChg chg="addSp delSp modSp del mod modClrScheme chgLayout">
        <pc:chgData name="Batuhan Yildiz" userId="90f344fc-4655-4923-aeaf-697bba59c1a7" providerId="ADAL" clId="{36790D39-2AF2-4FE2-8F3C-98932C7C5456}" dt="2020-05-22T00:48:52.303" v="137" actId="47"/>
        <pc:sldMkLst>
          <pc:docMk/>
          <pc:sldMk cId="3418559531" sldId="1538"/>
        </pc:sldMkLst>
        <pc:spChg chg="add del mod ord">
          <ac:chgData name="Batuhan Yildiz" userId="90f344fc-4655-4923-aeaf-697bba59c1a7" providerId="ADAL" clId="{36790D39-2AF2-4FE2-8F3C-98932C7C5456}" dt="2020-05-22T00:47:21.265" v="127" actId="700"/>
          <ac:spMkLst>
            <pc:docMk/>
            <pc:sldMk cId="3418559531" sldId="1538"/>
            <ac:spMk id="2" creationId="{0CB84641-9687-4216-866A-09949A95E1FB}"/>
          </ac:spMkLst>
        </pc:spChg>
        <pc:spChg chg="mod ord">
          <ac:chgData name="Batuhan Yildiz" userId="90f344fc-4655-4923-aeaf-697bba59c1a7" providerId="ADAL" clId="{36790D39-2AF2-4FE2-8F3C-98932C7C5456}" dt="2020-05-22T00:47:21.265" v="127" actId="700"/>
          <ac:spMkLst>
            <pc:docMk/>
            <pc:sldMk cId="3418559531" sldId="1538"/>
            <ac:spMk id="4" creationId="{00000000-0000-0000-0000-000000000000}"/>
          </ac:spMkLst>
        </pc:spChg>
        <pc:spChg chg="mod ord">
          <ac:chgData name="Batuhan Yildiz" userId="90f344fc-4655-4923-aeaf-697bba59c1a7" providerId="ADAL" clId="{36790D39-2AF2-4FE2-8F3C-98932C7C5456}" dt="2020-05-22T00:47:21.265" v="127" actId="700"/>
          <ac:spMkLst>
            <pc:docMk/>
            <pc:sldMk cId="3418559531" sldId="1538"/>
            <ac:spMk id="5" creationId="{00000000-0000-0000-0000-000000000000}"/>
          </ac:spMkLst>
        </pc:spChg>
        <pc:graphicFrameChg chg="mod">
          <ac:chgData name="Batuhan Yildiz" userId="90f344fc-4655-4923-aeaf-697bba59c1a7" providerId="ADAL" clId="{36790D39-2AF2-4FE2-8F3C-98932C7C5456}" dt="2020-05-22T00:47:47.491" v="129" actId="20577"/>
          <ac:graphicFrameMkLst>
            <pc:docMk/>
            <pc:sldMk cId="3418559531" sldId="1538"/>
            <ac:graphicFrameMk id="8" creationId="{EAD54B84-9620-4797-9496-ED729535AFF1}"/>
          </ac:graphicFrameMkLst>
        </pc:graphicFrameChg>
      </pc:sldChg>
      <pc:sldChg chg="modSp mod modClrScheme chgLayout">
        <pc:chgData name="Batuhan Yildiz" userId="90f344fc-4655-4923-aeaf-697bba59c1a7" providerId="ADAL" clId="{36790D39-2AF2-4FE2-8F3C-98932C7C5456}" dt="2020-05-22T01:09:10.138" v="253" actId="1076"/>
        <pc:sldMkLst>
          <pc:docMk/>
          <pc:sldMk cId="489403270" sldId="1544"/>
        </pc:sldMkLst>
        <pc:spChg chg="mod ord">
          <ac:chgData name="Batuhan Yildiz" userId="90f344fc-4655-4923-aeaf-697bba59c1a7" providerId="ADAL" clId="{36790D39-2AF2-4FE2-8F3C-98932C7C5456}" dt="2020-05-22T01:09:00.499" v="252" actId="255"/>
          <ac:spMkLst>
            <pc:docMk/>
            <pc:sldMk cId="489403270" sldId="1544"/>
            <ac:spMk id="2" creationId="{00000000-0000-0000-0000-000000000000}"/>
          </ac:spMkLst>
        </pc:spChg>
        <pc:spChg chg="mod ord">
          <ac:chgData name="Batuhan Yildiz" userId="90f344fc-4655-4923-aeaf-697bba59c1a7" providerId="ADAL" clId="{36790D39-2AF2-4FE2-8F3C-98932C7C5456}" dt="2020-05-22T01:08:22.953" v="248" actId="700"/>
          <ac:spMkLst>
            <pc:docMk/>
            <pc:sldMk cId="489403270" sldId="1544"/>
            <ac:spMk id="3" creationId="{00000000-0000-0000-0000-000000000000}"/>
          </ac:spMkLst>
        </pc:spChg>
        <pc:picChg chg="mod">
          <ac:chgData name="Batuhan Yildiz" userId="90f344fc-4655-4923-aeaf-697bba59c1a7" providerId="ADAL" clId="{36790D39-2AF2-4FE2-8F3C-98932C7C5456}" dt="2020-05-22T01:09:10.138" v="253" actId="1076"/>
          <ac:picMkLst>
            <pc:docMk/>
            <pc:sldMk cId="489403270" sldId="1544"/>
            <ac:picMk id="4" creationId="{00000000-0000-0000-0000-000000000000}"/>
          </ac:picMkLst>
        </pc:picChg>
      </pc:sldChg>
      <pc:sldChg chg="addSp delSp modSp mod modClrScheme chgLayout">
        <pc:chgData name="Batuhan Yildiz" userId="90f344fc-4655-4923-aeaf-697bba59c1a7" providerId="ADAL" clId="{36790D39-2AF2-4FE2-8F3C-98932C7C5456}" dt="2020-05-22T01:13:57.834" v="275" actId="14100"/>
        <pc:sldMkLst>
          <pc:docMk/>
          <pc:sldMk cId="1399968532" sldId="1546"/>
        </pc:sldMkLst>
        <pc:spChg chg="add del mod ord">
          <ac:chgData name="Batuhan Yildiz" userId="90f344fc-4655-4923-aeaf-697bba59c1a7" providerId="ADAL" clId="{36790D39-2AF2-4FE2-8F3C-98932C7C5456}" dt="2020-05-22T01:12:11.734" v="256" actId="700"/>
          <ac:spMkLst>
            <pc:docMk/>
            <pc:sldMk cId="1399968532" sldId="1546"/>
            <ac:spMk id="2" creationId="{85CFA998-8DE6-4E02-869B-52BE8D84A1EC}"/>
          </ac:spMkLst>
        </pc:spChg>
        <pc:spChg chg="add del mod">
          <ac:chgData name="Batuhan Yildiz" userId="90f344fc-4655-4923-aeaf-697bba59c1a7" providerId="ADAL" clId="{36790D39-2AF2-4FE2-8F3C-98932C7C5456}" dt="2020-05-22T01:12:27.788" v="258" actId="478"/>
          <ac:spMkLst>
            <pc:docMk/>
            <pc:sldMk cId="1399968532" sldId="1546"/>
            <ac:spMk id="4" creationId="{7172D2FB-406E-46B7-B7FA-46ED6915131D}"/>
          </ac:spMkLst>
        </pc:spChg>
        <pc:spChg chg="mod ord">
          <ac:chgData name="Batuhan Yildiz" userId="90f344fc-4655-4923-aeaf-697bba59c1a7" providerId="ADAL" clId="{36790D39-2AF2-4FE2-8F3C-98932C7C5456}" dt="2020-05-22T01:12:33.185" v="259" actId="700"/>
          <ac:spMkLst>
            <pc:docMk/>
            <pc:sldMk cId="1399968532" sldId="1546"/>
            <ac:spMk id="5" creationId="{00000000-0000-0000-0000-000000000000}"/>
          </ac:spMkLst>
        </pc:spChg>
        <pc:spChg chg="del mod ord">
          <ac:chgData name="Batuhan Yildiz" userId="90f344fc-4655-4923-aeaf-697bba59c1a7" providerId="ADAL" clId="{36790D39-2AF2-4FE2-8F3C-98932C7C5456}" dt="2020-05-22T01:12:23.304" v="257" actId="478"/>
          <ac:spMkLst>
            <pc:docMk/>
            <pc:sldMk cId="1399968532" sldId="1546"/>
            <ac:spMk id="6" creationId="{00000000-0000-0000-0000-000000000000}"/>
          </ac:spMkLst>
        </pc:spChg>
        <pc:spChg chg="del">
          <ac:chgData name="Batuhan Yildiz" userId="90f344fc-4655-4923-aeaf-697bba59c1a7" providerId="ADAL" clId="{36790D39-2AF2-4FE2-8F3C-98932C7C5456}" dt="2020-05-22T01:12:46.346" v="263" actId="478"/>
          <ac:spMkLst>
            <pc:docMk/>
            <pc:sldMk cId="1399968532" sldId="1546"/>
            <ac:spMk id="7" creationId="{128B0BFB-A8B4-487B-A2EA-03FA79DDF259}"/>
          </ac:spMkLst>
        </pc:spChg>
        <pc:spChg chg="add mod ord">
          <ac:chgData name="Batuhan Yildiz" userId="90f344fc-4655-4923-aeaf-697bba59c1a7" providerId="ADAL" clId="{36790D39-2AF2-4FE2-8F3C-98932C7C5456}" dt="2020-05-22T01:12:50.883" v="265" actId="20577"/>
          <ac:spMkLst>
            <pc:docMk/>
            <pc:sldMk cId="1399968532" sldId="1546"/>
            <ac:spMk id="8" creationId="{66149B45-1B5E-4BB9-971B-CFBC568DE4B8}"/>
          </ac:spMkLst>
        </pc:spChg>
        <pc:spChg chg="add del mod ord">
          <ac:chgData name="Batuhan Yildiz" userId="90f344fc-4655-4923-aeaf-697bba59c1a7" providerId="ADAL" clId="{36790D39-2AF2-4FE2-8F3C-98932C7C5456}" dt="2020-05-22T01:13:32.676" v="269" actId="12084"/>
          <ac:spMkLst>
            <pc:docMk/>
            <pc:sldMk cId="1399968532" sldId="1546"/>
            <ac:spMk id="10" creationId="{991532AB-D223-4B83-9953-91DB26C2CFBE}"/>
          </ac:spMkLst>
        </pc:spChg>
        <pc:graphicFrameChg chg="add mod">
          <ac:chgData name="Batuhan Yildiz" userId="90f344fc-4655-4923-aeaf-697bba59c1a7" providerId="ADAL" clId="{36790D39-2AF2-4FE2-8F3C-98932C7C5456}" dt="2020-05-22T01:13:57.834" v="275" actId="14100"/>
          <ac:graphicFrameMkLst>
            <pc:docMk/>
            <pc:sldMk cId="1399968532" sldId="1546"/>
            <ac:graphicFrameMk id="11" creationId="{CFF197B9-BEAE-4B52-976C-2F4FBEC78DC9}"/>
          </ac:graphicFrameMkLst>
        </pc:graphicFrameChg>
        <pc:picChg chg="mod">
          <ac:chgData name="Batuhan Yildiz" userId="90f344fc-4655-4923-aeaf-697bba59c1a7" providerId="ADAL" clId="{36790D39-2AF2-4FE2-8F3C-98932C7C5456}" dt="2020-05-22T01:13:51.095" v="274" actId="1076"/>
          <ac:picMkLst>
            <pc:docMk/>
            <pc:sldMk cId="1399968532" sldId="1546"/>
            <ac:picMk id="9" creationId="{00000000-0000-0000-0000-000000000000}"/>
          </ac:picMkLst>
        </pc:picChg>
      </pc:sldChg>
      <pc:sldChg chg="addSp delSp modSp mod modClrScheme chgLayout">
        <pc:chgData name="Batuhan Yildiz" userId="90f344fc-4655-4923-aeaf-697bba59c1a7" providerId="ADAL" clId="{36790D39-2AF2-4FE2-8F3C-98932C7C5456}" dt="2020-05-22T00:41:21.235" v="88" actId="478"/>
        <pc:sldMkLst>
          <pc:docMk/>
          <pc:sldMk cId="2836365285" sldId="1547"/>
        </pc:sldMkLst>
        <pc:spChg chg="add del mod ord">
          <ac:chgData name="Batuhan Yildiz" userId="90f344fc-4655-4923-aeaf-697bba59c1a7" providerId="ADAL" clId="{36790D39-2AF2-4FE2-8F3C-98932C7C5456}" dt="2020-05-22T00:41:21.235" v="88" actId="478"/>
          <ac:spMkLst>
            <pc:docMk/>
            <pc:sldMk cId="2836365285" sldId="1547"/>
            <ac:spMk id="2" creationId="{4F83A75B-B82A-4A8E-AF1E-E8982510D3DA}"/>
          </ac:spMkLst>
        </pc:spChg>
        <pc:spChg chg="mod ord">
          <ac:chgData name="Batuhan Yildiz" userId="90f344fc-4655-4923-aeaf-697bba59c1a7" providerId="ADAL" clId="{36790D39-2AF2-4FE2-8F3C-98932C7C5456}" dt="2020-05-22T00:41:16.411" v="87" actId="700"/>
          <ac:spMkLst>
            <pc:docMk/>
            <pc:sldMk cId="2836365285" sldId="1547"/>
            <ac:spMk id="3" creationId="{00000000-0000-0000-0000-000000000000}"/>
          </ac:spMkLst>
        </pc:spChg>
      </pc:sldChg>
      <pc:sldChg chg="addSp delSp modSp mod modClrScheme chgLayout">
        <pc:chgData name="Batuhan Yildiz" userId="90f344fc-4655-4923-aeaf-697bba59c1a7" providerId="ADAL" clId="{36790D39-2AF2-4FE2-8F3C-98932C7C5456}" dt="2020-05-22T01:02:34.675" v="206" actId="108"/>
        <pc:sldMkLst>
          <pc:docMk/>
          <pc:sldMk cId="3615270324" sldId="1548"/>
        </pc:sldMkLst>
        <pc:spChg chg="mod ord">
          <ac:chgData name="Batuhan Yildiz" userId="90f344fc-4655-4923-aeaf-697bba59c1a7" providerId="ADAL" clId="{36790D39-2AF2-4FE2-8F3C-98932C7C5456}" dt="2020-05-22T00:58:00.259" v="185" actId="700"/>
          <ac:spMkLst>
            <pc:docMk/>
            <pc:sldMk cId="3615270324" sldId="1548"/>
            <ac:spMk id="2" creationId="{5A79A6D8-BA9C-4C2E-8D8C-B8163FE65119}"/>
          </ac:spMkLst>
        </pc:spChg>
        <pc:spChg chg="add del mod ord">
          <ac:chgData name="Batuhan Yildiz" userId="90f344fc-4655-4923-aeaf-697bba59c1a7" providerId="ADAL" clId="{36790D39-2AF2-4FE2-8F3C-98932C7C5456}" dt="2020-05-22T00:58:16.816" v="188" actId="12084"/>
          <ac:spMkLst>
            <pc:docMk/>
            <pc:sldMk cId="3615270324" sldId="1548"/>
            <ac:spMk id="3" creationId="{CB436D7A-EC02-4CBD-A25D-663FBF7797C8}"/>
          </ac:spMkLst>
        </pc:spChg>
        <pc:spChg chg="mod ord">
          <ac:chgData name="Batuhan Yildiz" userId="90f344fc-4655-4923-aeaf-697bba59c1a7" providerId="ADAL" clId="{36790D39-2AF2-4FE2-8F3C-98932C7C5456}" dt="2020-05-22T00:58:00.259" v="185" actId="700"/>
          <ac:spMkLst>
            <pc:docMk/>
            <pc:sldMk cId="3615270324" sldId="1548"/>
            <ac:spMk id="5" creationId="{00000000-0000-0000-0000-000000000000}"/>
          </ac:spMkLst>
        </pc:spChg>
        <pc:graphicFrameChg chg="add mod">
          <ac:chgData name="Batuhan Yildiz" userId="90f344fc-4655-4923-aeaf-697bba59c1a7" providerId="ADAL" clId="{36790D39-2AF2-4FE2-8F3C-98932C7C5456}" dt="2020-05-22T01:02:34.675" v="206" actId="108"/>
          <ac:graphicFrameMkLst>
            <pc:docMk/>
            <pc:sldMk cId="3615270324" sldId="1548"/>
            <ac:graphicFrameMk id="4" creationId="{138DBE09-7A9C-4F74-985A-D27BDC72A678}"/>
          </ac:graphicFrameMkLst>
        </pc:graphicFrameChg>
        <pc:graphicFrameChg chg="del mod">
          <ac:chgData name="Batuhan Yildiz" userId="90f344fc-4655-4923-aeaf-697bba59c1a7" providerId="ADAL" clId="{36790D39-2AF2-4FE2-8F3C-98932C7C5456}" dt="2020-05-22T00:57:47.261" v="183" actId="478"/>
          <ac:graphicFrameMkLst>
            <pc:docMk/>
            <pc:sldMk cId="3615270324" sldId="1548"/>
            <ac:graphicFrameMk id="8" creationId="{00000000-0000-0000-0000-000000000000}"/>
          </ac:graphicFrameMkLst>
        </pc:graphicFrameChg>
      </pc:sldChg>
      <pc:sldChg chg="addSp delSp modSp new mod modNotesTx">
        <pc:chgData name="Batuhan Yildiz" userId="90f344fc-4655-4923-aeaf-697bba59c1a7" providerId="ADAL" clId="{36790D39-2AF2-4FE2-8F3C-98932C7C5456}" dt="2020-05-22T00:51:39.063" v="149"/>
        <pc:sldMkLst>
          <pc:docMk/>
          <pc:sldMk cId="449574351" sldId="1549"/>
        </pc:sldMkLst>
        <pc:spChg chg="mod">
          <ac:chgData name="Batuhan Yildiz" userId="90f344fc-4655-4923-aeaf-697bba59c1a7" providerId="ADAL" clId="{36790D39-2AF2-4FE2-8F3C-98932C7C5456}" dt="2020-05-22T00:48:41.088" v="135"/>
          <ac:spMkLst>
            <pc:docMk/>
            <pc:sldMk cId="449574351" sldId="1549"/>
            <ac:spMk id="2" creationId="{333E393E-BECE-4E55-8DBC-A7CFFD243954}"/>
          </ac:spMkLst>
        </pc:spChg>
        <pc:spChg chg="del">
          <ac:chgData name="Batuhan Yildiz" userId="90f344fc-4655-4923-aeaf-697bba59c1a7" providerId="ADAL" clId="{36790D39-2AF2-4FE2-8F3C-98932C7C5456}" dt="2020-05-22T00:48:26.888" v="133" actId="478"/>
          <ac:spMkLst>
            <pc:docMk/>
            <pc:sldMk cId="449574351" sldId="1549"/>
            <ac:spMk id="3" creationId="{8849FD7E-53BC-4818-88B4-C62B1CA6FC4B}"/>
          </ac:spMkLst>
        </pc:spChg>
        <pc:graphicFrameChg chg="add mod">
          <ac:chgData name="Batuhan Yildiz" userId="90f344fc-4655-4923-aeaf-697bba59c1a7" providerId="ADAL" clId="{36790D39-2AF2-4FE2-8F3C-98932C7C5456}" dt="2020-05-22T00:51:39.063" v="149"/>
          <ac:graphicFrameMkLst>
            <pc:docMk/>
            <pc:sldMk cId="449574351" sldId="1549"/>
            <ac:graphicFrameMk id="5" creationId="{06468DB1-AF29-4A6B-B030-F312A32EBE9A}"/>
          </ac:graphicFrameMkLst>
        </pc:graphicFrameChg>
      </pc:sldChg>
      <pc:sldChg chg="modSp new del mod">
        <pc:chgData name="Batuhan Yildiz" userId="90f344fc-4655-4923-aeaf-697bba59c1a7" providerId="ADAL" clId="{36790D39-2AF2-4FE2-8F3C-98932C7C5456}" dt="2020-05-22T01:02:55.553" v="209" actId="47"/>
        <pc:sldMkLst>
          <pc:docMk/>
          <pc:sldMk cId="1113286532" sldId="1550"/>
        </pc:sldMkLst>
        <pc:spChg chg="mod">
          <ac:chgData name="Batuhan Yildiz" userId="90f344fc-4655-4923-aeaf-697bba59c1a7" providerId="ADAL" clId="{36790D39-2AF2-4FE2-8F3C-98932C7C5456}" dt="2020-05-22T01:02:19.251" v="204" actId="20577"/>
          <ac:spMkLst>
            <pc:docMk/>
            <pc:sldMk cId="1113286532" sldId="1550"/>
            <ac:spMk id="3" creationId="{6375C510-4F20-45DC-A4AD-0FB0481B5F35}"/>
          </ac:spMkLst>
        </pc:spChg>
      </pc:sldChg>
    </pc:docChg>
  </pc:docChgLst>
  <pc:docChgLst>
    <pc:chgData name="boB Taylor" userId="2ac94156-0040-455f-a13f-091fd330254d" providerId="ADAL" clId="{E7DD41DF-590C-4F8D-B8CE-56A371F4DB90}"/>
    <pc:docChg chg="custSel modSld">
      <pc:chgData name="boB Taylor" userId="2ac94156-0040-455f-a13f-091fd330254d" providerId="ADAL" clId="{E7DD41DF-590C-4F8D-B8CE-56A371F4DB90}" dt="2020-05-11T19:40:59.609" v="0" actId="478"/>
      <pc:docMkLst>
        <pc:docMk/>
      </pc:docMkLst>
      <pc:sldChg chg="delSp mod">
        <pc:chgData name="boB Taylor" userId="2ac94156-0040-455f-a13f-091fd330254d" providerId="ADAL" clId="{E7DD41DF-590C-4F8D-B8CE-56A371F4DB90}" dt="2020-05-11T19:40:59.609" v="0" actId="478"/>
        <pc:sldMkLst>
          <pc:docMk/>
          <pc:sldMk cId="3235270007" sldId="257"/>
        </pc:sldMkLst>
        <pc:spChg chg="del">
          <ac:chgData name="boB Taylor" userId="2ac94156-0040-455f-a13f-091fd330254d" providerId="ADAL" clId="{E7DD41DF-590C-4F8D-B8CE-56A371F4DB90}" dt="2020-05-11T19:40:59.609" v="0" actId="478"/>
          <ac:spMkLst>
            <pc:docMk/>
            <pc:sldMk cId="3235270007" sldId="257"/>
            <ac:spMk id="3" creationId="{F35E8CBB-5A7D-4DEF-BAF7-8DD5D042F9E0}"/>
          </ac:spMkLst>
        </pc:spChg>
      </pc:sldChg>
    </pc:docChg>
  </pc:docChgLst>
  <pc:docChgLst>
    <pc:chgData name="Sam Mesel" userId="S::sammes@microsoft.com::1ee7badb-5d1f-4872-89ae-dcf7b71f276a" providerId="AD" clId="Web-{108B40BB-202E-B533-D2B3-3BEEAB39C0E0}"/>
    <pc:docChg chg="modSld">
      <pc:chgData name="Sam Mesel" userId="S::sammes@microsoft.com::1ee7badb-5d1f-4872-89ae-dcf7b71f276a" providerId="AD" clId="Web-{108B40BB-202E-B533-D2B3-3BEEAB39C0E0}" dt="2020-05-06T19:53:23.380" v="9" actId="20577"/>
      <pc:docMkLst>
        <pc:docMk/>
      </pc:docMkLst>
      <pc:sldChg chg="modSp">
        <pc:chgData name="Sam Mesel" userId="S::sammes@microsoft.com::1ee7badb-5d1f-4872-89ae-dcf7b71f276a" providerId="AD" clId="Web-{108B40BB-202E-B533-D2B3-3BEEAB39C0E0}" dt="2020-05-06T19:53:23.365" v="8" actId="20577"/>
        <pc:sldMkLst>
          <pc:docMk/>
          <pc:sldMk cId="1708757965" sldId="1535"/>
        </pc:sldMkLst>
        <pc:spChg chg="mod">
          <ac:chgData name="Sam Mesel" userId="S::sammes@microsoft.com::1ee7badb-5d1f-4872-89ae-dcf7b71f276a" providerId="AD" clId="Web-{108B40BB-202E-B533-D2B3-3BEEAB39C0E0}" dt="2020-05-06T19:53:23.365" v="8" actId="20577"/>
          <ac:spMkLst>
            <pc:docMk/>
            <pc:sldMk cId="1708757965" sldId="1535"/>
            <ac:spMk id="8" creationId="{00000000-0000-0000-0000-000000000000}"/>
          </ac:spMkLst>
        </pc:spChg>
      </pc:sldChg>
    </pc:docChg>
  </pc:docChgLst>
</pc:chgInfo>
</file>

<file path=ppt/diagrams/_rels/data12.xml.rels><?xml version="1.0" encoding="UTF-8" standalone="yes"?>
<Relationships xmlns="http://schemas.openxmlformats.org/package/2006/relationships"><Relationship Id="rId2" Type="http://schemas.openxmlformats.org/officeDocument/2006/relationships/hyperlink" Target="https://www.sqlskills.com/help/waits/" TargetMode="External"/><Relationship Id="rId1" Type="http://schemas.openxmlformats.org/officeDocument/2006/relationships/hyperlink" Target="https://sqlperformance.com/2018/10/sql-performance/top-wait-stats" TargetMode="External"/></Relationships>
</file>

<file path=ppt/diagrams/_rels/drawing12.xml.rels><?xml version="1.0" encoding="UTF-8" standalone="yes"?>
<Relationships xmlns="http://schemas.openxmlformats.org/package/2006/relationships"><Relationship Id="rId2" Type="http://schemas.openxmlformats.org/officeDocument/2006/relationships/hyperlink" Target="https://www.sqlskills.com/help/waits/" TargetMode="External"/><Relationship Id="rId1" Type="http://schemas.openxmlformats.org/officeDocument/2006/relationships/hyperlink" Target="https://sqlperformance.com/2018/10/sql-performance/top-wait-stats" TargetMode="Externa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BF0DCD-E488-4C77-B299-EA375E7B1659}"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456D1D49-6979-4A1B-B069-CC14616C89C5}">
      <dgm:prSet phldrT="[Text]"/>
      <dgm:spPr/>
      <dgm:t>
        <a:bodyPr/>
        <a:lstStyle/>
        <a:p>
          <a:r>
            <a:rPr lang="en-US" dirty="0"/>
            <a:t>Management</a:t>
          </a:r>
        </a:p>
      </dgm:t>
    </dgm:pt>
    <dgm:pt modelId="{4726CEC5-2192-4EB0-869C-847C34107D6B}" type="parTrans" cxnId="{1B6B91BD-FF66-42EB-AE69-7BAEADEFA8DC}">
      <dgm:prSet/>
      <dgm:spPr/>
      <dgm:t>
        <a:bodyPr/>
        <a:lstStyle/>
        <a:p>
          <a:endParaRPr lang="en-US"/>
        </a:p>
      </dgm:t>
    </dgm:pt>
    <dgm:pt modelId="{D5DA2F46-75CA-48BE-B4FE-668DDF4397FC}" type="sibTrans" cxnId="{1B6B91BD-FF66-42EB-AE69-7BAEADEFA8DC}">
      <dgm:prSet/>
      <dgm:spPr/>
      <dgm:t>
        <a:bodyPr/>
        <a:lstStyle/>
        <a:p>
          <a:endParaRPr lang="en-US"/>
        </a:p>
      </dgm:t>
    </dgm:pt>
    <dgm:pt modelId="{1CC54FFA-7C20-4DA1-AA81-7DE6D85DE4BF}">
      <dgm:prSet phldrT="[Text]"/>
      <dgm:spPr/>
      <dgm:t>
        <a:bodyPr/>
        <a:lstStyle/>
        <a:p>
          <a:r>
            <a:rPr lang="en-US" dirty="0">
              <a:latin typeface="+mj-lt"/>
            </a:rPr>
            <a:t>Memory Manager</a:t>
          </a:r>
          <a:endParaRPr lang="en-US" dirty="0"/>
        </a:p>
      </dgm:t>
    </dgm:pt>
    <dgm:pt modelId="{5DD522A8-0DF6-4FA6-B3CD-DCBA093E2F82}" type="parTrans" cxnId="{A3EFB94C-B9CF-4724-8C74-039911C6E99C}">
      <dgm:prSet/>
      <dgm:spPr/>
      <dgm:t>
        <a:bodyPr/>
        <a:lstStyle/>
        <a:p>
          <a:endParaRPr lang="en-US"/>
        </a:p>
      </dgm:t>
    </dgm:pt>
    <dgm:pt modelId="{304C4A10-5309-4000-85E8-A91EF32E0570}" type="sibTrans" cxnId="{A3EFB94C-B9CF-4724-8C74-039911C6E99C}">
      <dgm:prSet/>
      <dgm:spPr/>
      <dgm:t>
        <a:bodyPr/>
        <a:lstStyle/>
        <a:p>
          <a:endParaRPr lang="en-US"/>
        </a:p>
      </dgm:t>
    </dgm:pt>
    <dgm:pt modelId="{84C6D042-49EA-45BF-BF34-4520D2F4952C}">
      <dgm:prSet phldrT="[Text]"/>
      <dgm:spPr/>
      <dgm:t>
        <a:bodyPr/>
        <a:lstStyle/>
        <a:p>
          <a:r>
            <a:rPr lang="en-US" dirty="0"/>
            <a:t>Monitoring</a:t>
          </a:r>
        </a:p>
      </dgm:t>
    </dgm:pt>
    <dgm:pt modelId="{035B6CC2-D8FE-40C1-8735-6CFE06391818}" type="parTrans" cxnId="{3B47A219-3AC2-4F75-9546-BF9FB05A62B3}">
      <dgm:prSet/>
      <dgm:spPr/>
      <dgm:t>
        <a:bodyPr/>
        <a:lstStyle/>
        <a:p>
          <a:endParaRPr lang="en-US"/>
        </a:p>
      </dgm:t>
    </dgm:pt>
    <dgm:pt modelId="{4541ADEB-CFBF-4468-A2F9-141754A6501A}" type="sibTrans" cxnId="{3B47A219-3AC2-4F75-9546-BF9FB05A62B3}">
      <dgm:prSet/>
      <dgm:spPr/>
      <dgm:t>
        <a:bodyPr/>
        <a:lstStyle/>
        <a:p>
          <a:endParaRPr lang="en-US"/>
        </a:p>
      </dgm:t>
    </dgm:pt>
    <dgm:pt modelId="{77654ABF-E368-4AAC-AE34-686D9E2BDB5E}">
      <dgm:prSet phldrT="[Text]"/>
      <dgm:spPr/>
      <dgm:t>
        <a:bodyPr/>
        <a:lstStyle/>
        <a:p>
          <a:r>
            <a:rPr lang="en-US" dirty="0">
              <a:latin typeface="+mj-lt"/>
            </a:rPr>
            <a:t>Resource Monitor</a:t>
          </a:r>
          <a:endParaRPr lang="en-US" dirty="0"/>
        </a:p>
      </dgm:t>
    </dgm:pt>
    <dgm:pt modelId="{17DD1F40-E0E8-40AA-8817-9C6BB96D4C1F}" type="parTrans" cxnId="{E96BFE18-0AEC-4838-8187-B4B41FA26CF5}">
      <dgm:prSet/>
      <dgm:spPr/>
      <dgm:t>
        <a:bodyPr/>
        <a:lstStyle/>
        <a:p>
          <a:endParaRPr lang="en-US"/>
        </a:p>
      </dgm:t>
    </dgm:pt>
    <dgm:pt modelId="{C46BCBCF-89BE-4E9E-8597-174E358AEE34}" type="sibTrans" cxnId="{E96BFE18-0AEC-4838-8187-B4B41FA26CF5}">
      <dgm:prSet/>
      <dgm:spPr/>
      <dgm:t>
        <a:bodyPr/>
        <a:lstStyle/>
        <a:p>
          <a:endParaRPr lang="en-US"/>
        </a:p>
      </dgm:t>
    </dgm:pt>
    <dgm:pt modelId="{416A51FF-50BA-4769-A9B3-8FC6714DC899}">
      <dgm:prSet/>
      <dgm:spPr/>
      <dgm:t>
        <a:bodyPr/>
        <a:lstStyle/>
        <a:p>
          <a:r>
            <a:rPr lang="en-US" dirty="0">
              <a:latin typeface="+mj-lt"/>
            </a:rPr>
            <a:t>Process Scheduler</a:t>
          </a:r>
        </a:p>
      </dgm:t>
    </dgm:pt>
    <dgm:pt modelId="{D1BF2092-A472-43ED-A548-CDE201F5C24F}" type="parTrans" cxnId="{7F204644-4576-46AF-9FCF-DD09ACD388F9}">
      <dgm:prSet/>
      <dgm:spPr/>
      <dgm:t>
        <a:bodyPr/>
        <a:lstStyle/>
        <a:p>
          <a:endParaRPr lang="en-US"/>
        </a:p>
      </dgm:t>
    </dgm:pt>
    <dgm:pt modelId="{998B3A49-3DD8-4950-9319-00281840E684}" type="sibTrans" cxnId="{7F204644-4576-46AF-9FCF-DD09ACD388F9}">
      <dgm:prSet/>
      <dgm:spPr/>
      <dgm:t>
        <a:bodyPr/>
        <a:lstStyle/>
        <a:p>
          <a:endParaRPr lang="en-US"/>
        </a:p>
      </dgm:t>
    </dgm:pt>
    <dgm:pt modelId="{9F8A8E49-522D-4085-9A5C-6E559173B8DA}">
      <dgm:prSet/>
      <dgm:spPr/>
      <dgm:t>
        <a:bodyPr/>
        <a:lstStyle/>
        <a:p>
          <a:r>
            <a:rPr lang="en-US">
              <a:latin typeface="+mj-lt"/>
            </a:rPr>
            <a:t>Synchronization</a:t>
          </a:r>
          <a:endParaRPr lang="en-US" dirty="0">
            <a:latin typeface="+mj-lt"/>
          </a:endParaRPr>
        </a:p>
      </dgm:t>
    </dgm:pt>
    <dgm:pt modelId="{4D397B02-DB34-40B8-8657-4F8635D24769}" type="parTrans" cxnId="{C5D7C64B-2638-4CEE-B662-C96D87D4F008}">
      <dgm:prSet/>
      <dgm:spPr/>
      <dgm:t>
        <a:bodyPr/>
        <a:lstStyle/>
        <a:p>
          <a:endParaRPr lang="en-US"/>
        </a:p>
      </dgm:t>
    </dgm:pt>
    <dgm:pt modelId="{BC72DF80-36C6-4071-B0FD-112090AEE4FD}" type="sibTrans" cxnId="{C5D7C64B-2638-4CEE-B662-C96D87D4F008}">
      <dgm:prSet/>
      <dgm:spPr/>
      <dgm:t>
        <a:bodyPr/>
        <a:lstStyle/>
        <a:p>
          <a:endParaRPr lang="en-US"/>
        </a:p>
      </dgm:t>
    </dgm:pt>
    <dgm:pt modelId="{861CFCB4-98B4-45B6-BAE2-B880CC9E5655}">
      <dgm:prSet/>
      <dgm:spPr/>
      <dgm:t>
        <a:bodyPr/>
        <a:lstStyle/>
        <a:p>
          <a:r>
            <a:rPr lang="en-US" dirty="0">
              <a:latin typeface="+mj-lt"/>
            </a:rPr>
            <a:t>I/O</a:t>
          </a:r>
        </a:p>
      </dgm:t>
    </dgm:pt>
    <dgm:pt modelId="{0A5A0CCD-DFDA-4959-A69B-2BC358AFA8F6}" type="parTrans" cxnId="{42F34CAE-D158-4E2F-845D-822CF882EC92}">
      <dgm:prSet/>
      <dgm:spPr/>
      <dgm:t>
        <a:bodyPr/>
        <a:lstStyle/>
        <a:p>
          <a:endParaRPr lang="en-US"/>
        </a:p>
      </dgm:t>
    </dgm:pt>
    <dgm:pt modelId="{CF3E7107-0043-4018-A7A5-9BCBA3A42497}" type="sibTrans" cxnId="{42F34CAE-D158-4E2F-845D-822CF882EC92}">
      <dgm:prSet/>
      <dgm:spPr/>
      <dgm:t>
        <a:bodyPr/>
        <a:lstStyle/>
        <a:p>
          <a:endParaRPr lang="en-US"/>
        </a:p>
      </dgm:t>
    </dgm:pt>
    <dgm:pt modelId="{9893C4C8-7CDC-42E7-A899-41E5F12D4289}">
      <dgm:prSet/>
      <dgm:spPr/>
      <dgm:t>
        <a:bodyPr/>
        <a:lstStyle/>
        <a:p>
          <a:r>
            <a:rPr lang="en-US" dirty="0">
              <a:latin typeface="+mj-lt"/>
            </a:rPr>
            <a:t>Support for Non-Uniform Memory Access (NUMA) and Resource Governor</a:t>
          </a:r>
        </a:p>
      </dgm:t>
    </dgm:pt>
    <dgm:pt modelId="{2BC13D61-CCF8-463B-90D9-FDA575E960EA}" type="parTrans" cxnId="{5E3A2717-292E-4D83-AB7F-BAD589B79C7E}">
      <dgm:prSet/>
      <dgm:spPr/>
      <dgm:t>
        <a:bodyPr/>
        <a:lstStyle/>
        <a:p>
          <a:endParaRPr lang="en-US"/>
        </a:p>
      </dgm:t>
    </dgm:pt>
    <dgm:pt modelId="{A68CB042-C9E4-46AE-BA93-138E05ADC218}" type="sibTrans" cxnId="{5E3A2717-292E-4D83-AB7F-BAD589B79C7E}">
      <dgm:prSet/>
      <dgm:spPr/>
      <dgm:t>
        <a:bodyPr/>
        <a:lstStyle/>
        <a:p>
          <a:endParaRPr lang="en-US"/>
        </a:p>
      </dgm:t>
    </dgm:pt>
    <dgm:pt modelId="{E2751BB0-CE0C-4DC9-9092-C1DB48F21F5F}">
      <dgm:prSet/>
      <dgm:spPr/>
      <dgm:t>
        <a:bodyPr/>
        <a:lstStyle/>
        <a:p>
          <a:r>
            <a:rPr lang="en-US">
              <a:latin typeface="+mj-lt"/>
            </a:rPr>
            <a:t>Deadlock Monitor</a:t>
          </a:r>
          <a:endParaRPr lang="en-US" dirty="0">
            <a:latin typeface="+mj-lt"/>
          </a:endParaRPr>
        </a:p>
      </dgm:t>
    </dgm:pt>
    <dgm:pt modelId="{8320C4EF-E2F9-4392-9B8F-A785C4C728BB}" type="parTrans" cxnId="{58E8E1B5-72C9-4FBD-8DDA-EDDF61AA7849}">
      <dgm:prSet/>
      <dgm:spPr/>
      <dgm:t>
        <a:bodyPr/>
        <a:lstStyle/>
        <a:p>
          <a:endParaRPr lang="en-US"/>
        </a:p>
      </dgm:t>
    </dgm:pt>
    <dgm:pt modelId="{933B252D-9329-4419-AD11-90E29EFDBC4F}" type="sibTrans" cxnId="{58E8E1B5-72C9-4FBD-8DDA-EDDF61AA7849}">
      <dgm:prSet/>
      <dgm:spPr/>
      <dgm:t>
        <a:bodyPr/>
        <a:lstStyle/>
        <a:p>
          <a:endParaRPr lang="en-US"/>
        </a:p>
      </dgm:t>
    </dgm:pt>
    <dgm:pt modelId="{38A58C8F-3D4D-4C41-84EC-1E7E5CD045C0}">
      <dgm:prSet/>
      <dgm:spPr/>
      <dgm:t>
        <a:bodyPr/>
        <a:lstStyle/>
        <a:p>
          <a:r>
            <a:rPr lang="en-US">
              <a:latin typeface="+mj-lt"/>
            </a:rPr>
            <a:t>Scheduler Monitor</a:t>
          </a:r>
          <a:endParaRPr lang="en-US" dirty="0">
            <a:latin typeface="+mj-lt"/>
          </a:endParaRPr>
        </a:p>
      </dgm:t>
    </dgm:pt>
    <dgm:pt modelId="{3D9D2F31-1C64-4CCF-A843-06812EA42B55}" type="parTrans" cxnId="{6467180F-3875-4934-A83E-907599B1FD3C}">
      <dgm:prSet/>
      <dgm:spPr/>
      <dgm:t>
        <a:bodyPr/>
        <a:lstStyle/>
        <a:p>
          <a:endParaRPr lang="en-US"/>
        </a:p>
      </dgm:t>
    </dgm:pt>
    <dgm:pt modelId="{0ECD15C7-21BD-4A6B-8AD2-B14453BBC7D5}" type="sibTrans" cxnId="{6467180F-3875-4934-A83E-907599B1FD3C}">
      <dgm:prSet/>
      <dgm:spPr/>
      <dgm:t>
        <a:bodyPr/>
        <a:lstStyle/>
        <a:p>
          <a:endParaRPr lang="en-US"/>
        </a:p>
      </dgm:t>
    </dgm:pt>
    <dgm:pt modelId="{877304CA-405D-4EF7-8C70-AEAC1D9CC12C}">
      <dgm:prSet/>
      <dgm:spPr/>
      <dgm:t>
        <a:bodyPr/>
        <a:lstStyle/>
        <a:p>
          <a:r>
            <a:rPr lang="en-US">
              <a:latin typeface="+mj-lt"/>
            </a:rPr>
            <a:t>Lazy Writer (Buffer Pool management)</a:t>
          </a:r>
          <a:endParaRPr lang="en-US" dirty="0">
            <a:latin typeface="+mj-lt"/>
          </a:endParaRPr>
        </a:p>
      </dgm:t>
    </dgm:pt>
    <dgm:pt modelId="{5E25B814-8E08-4381-BAE9-CED23AEE97BC}" type="parTrans" cxnId="{087B96E3-B086-4884-B5F3-48A49387373C}">
      <dgm:prSet/>
      <dgm:spPr/>
      <dgm:t>
        <a:bodyPr/>
        <a:lstStyle/>
        <a:p>
          <a:endParaRPr lang="en-US"/>
        </a:p>
      </dgm:t>
    </dgm:pt>
    <dgm:pt modelId="{81E53434-112A-41E9-8E19-7304E6676984}" type="sibTrans" cxnId="{087B96E3-B086-4884-B5F3-48A49387373C}">
      <dgm:prSet/>
      <dgm:spPr/>
      <dgm:t>
        <a:bodyPr/>
        <a:lstStyle/>
        <a:p>
          <a:endParaRPr lang="en-US"/>
        </a:p>
      </dgm:t>
    </dgm:pt>
    <dgm:pt modelId="{E9F146BC-EDFF-458C-B75C-2311AE666945}">
      <dgm:prSet/>
      <dgm:spPr/>
      <dgm:t>
        <a:bodyPr/>
        <a:lstStyle/>
        <a:p>
          <a:r>
            <a:rPr lang="en-US">
              <a:latin typeface="+mj-lt"/>
            </a:rPr>
            <a:t>Dynamic Management Views (DMVs)</a:t>
          </a:r>
          <a:endParaRPr lang="en-US" dirty="0">
            <a:latin typeface="+mj-lt"/>
          </a:endParaRPr>
        </a:p>
      </dgm:t>
    </dgm:pt>
    <dgm:pt modelId="{21C7A925-3964-4724-A588-324CFE199F3C}" type="parTrans" cxnId="{F1B7585A-52D3-4D51-A737-C8DBD0D8CB0B}">
      <dgm:prSet/>
      <dgm:spPr/>
      <dgm:t>
        <a:bodyPr/>
        <a:lstStyle/>
        <a:p>
          <a:endParaRPr lang="en-US"/>
        </a:p>
      </dgm:t>
    </dgm:pt>
    <dgm:pt modelId="{C6B06B2E-9644-4DE7-B458-F59D67196DC8}" type="sibTrans" cxnId="{F1B7585A-52D3-4D51-A737-C8DBD0D8CB0B}">
      <dgm:prSet/>
      <dgm:spPr/>
      <dgm:t>
        <a:bodyPr/>
        <a:lstStyle/>
        <a:p>
          <a:endParaRPr lang="en-US"/>
        </a:p>
      </dgm:t>
    </dgm:pt>
    <dgm:pt modelId="{799E6B04-6284-4FBF-A3E4-FECD49E6A90A}">
      <dgm:prSet/>
      <dgm:spPr/>
      <dgm:t>
        <a:bodyPr/>
        <a:lstStyle/>
        <a:p>
          <a:r>
            <a:rPr lang="en-US">
              <a:latin typeface="+mj-lt"/>
            </a:rPr>
            <a:t>Extended Events</a:t>
          </a:r>
          <a:endParaRPr lang="en-US" dirty="0">
            <a:latin typeface="+mj-lt"/>
          </a:endParaRPr>
        </a:p>
      </dgm:t>
    </dgm:pt>
    <dgm:pt modelId="{7B6724DA-5DB7-4969-8D23-AFC0E0773708}" type="parTrans" cxnId="{CE5C5958-C54C-4B66-AC4E-39289A7FC1DC}">
      <dgm:prSet/>
      <dgm:spPr/>
      <dgm:t>
        <a:bodyPr/>
        <a:lstStyle/>
        <a:p>
          <a:endParaRPr lang="en-US"/>
        </a:p>
      </dgm:t>
    </dgm:pt>
    <dgm:pt modelId="{8D69D8F0-08F2-49C8-BFB1-298D57ED2F93}" type="sibTrans" cxnId="{CE5C5958-C54C-4B66-AC4E-39289A7FC1DC}">
      <dgm:prSet/>
      <dgm:spPr/>
      <dgm:t>
        <a:bodyPr/>
        <a:lstStyle/>
        <a:p>
          <a:endParaRPr lang="en-US"/>
        </a:p>
      </dgm:t>
    </dgm:pt>
    <dgm:pt modelId="{4BC759EE-4BBD-45C1-A456-C6DBD3995E8B}">
      <dgm:prSet/>
      <dgm:spPr/>
      <dgm:t>
        <a:bodyPr/>
        <a:lstStyle/>
        <a:p>
          <a:r>
            <a:rPr lang="en-US" dirty="0">
              <a:latin typeface="+mj-lt"/>
            </a:rPr>
            <a:t>Dedicated Administrator Connection (DAC)</a:t>
          </a:r>
          <a:endParaRPr lang="en-US" dirty="0"/>
        </a:p>
      </dgm:t>
    </dgm:pt>
    <dgm:pt modelId="{A92F9139-1B15-4528-84DB-88A081D21850}" type="parTrans" cxnId="{7DEEC481-57AD-4CB6-8DB2-F05DB916A9A6}">
      <dgm:prSet/>
      <dgm:spPr/>
      <dgm:t>
        <a:bodyPr/>
        <a:lstStyle/>
        <a:p>
          <a:endParaRPr lang="en-US"/>
        </a:p>
      </dgm:t>
    </dgm:pt>
    <dgm:pt modelId="{6BA9C988-2CC2-4EB1-96B0-1F5152B0D754}" type="sibTrans" cxnId="{7DEEC481-57AD-4CB6-8DB2-F05DB916A9A6}">
      <dgm:prSet/>
      <dgm:spPr/>
      <dgm:t>
        <a:bodyPr/>
        <a:lstStyle/>
        <a:p>
          <a:endParaRPr lang="en-US"/>
        </a:p>
      </dgm:t>
    </dgm:pt>
    <dgm:pt modelId="{D9444157-FC01-4DF3-B374-D97F2906D86C}" type="pres">
      <dgm:prSet presAssocID="{64BF0DCD-E488-4C77-B299-EA375E7B1659}" presName="Name0" presStyleCnt="0">
        <dgm:presLayoutVars>
          <dgm:dir/>
          <dgm:animLvl val="lvl"/>
          <dgm:resizeHandles val="exact"/>
        </dgm:presLayoutVars>
      </dgm:prSet>
      <dgm:spPr/>
    </dgm:pt>
    <dgm:pt modelId="{1B9B13D9-BA84-4C8A-A7F1-2A82B8E9B0FC}" type="pres">
      <dgm:prSet presAssocID="{456D1D49-6979-4A1B-B069-CC14616C89C5}" presName="composite" presStyleCnt="0"/>
      <dgm:spPr/>
    </dgm:pt>
    <dgm:pt modelId="{DECFE222-2D5A-4A1B-9046-4D065BA79C36}" type="pres">
      <dgm:prSet presAssocID="{456D1D49-6979-4A1B-B069-CC14616C89C5}" presName="parTx" presStyleLbl="alignNode1" presStyleIdx="0" presStyleCnt="2">
        <dgm:presLayoutVars>
          <dgm:chMax val="0"/>
          <dgm:chPref val="0"/>
          <dgm:bulletEnabled val="1"/>
        </dgm:presLayoutVars>
      </dgm:prSet>
      <dgm:spPr/>
    </dgm:pt>
    <dgm:pt modelId="{E00CBA4F-BD30-43E5-804F-0C1AFABFED89}" type="pres">
      <dgm:prSet presAssocID="{456D1D49-6979-4A1B-B069-CC14616C89C5}" presName="desTx" presStyleLbl="alignAccFollowNode1" presStyleIdx="0" presStyleCnt="2">
        <dgm:presLayoutVars>
          <dgm:bulletEnabled val="1"/>
        </dgm:presLayoutVars>
      </dgm:prSet>
      <dgm:spPr/>
    </dgm:pt>
    <dgm:pt modelId="{35678607-AC5C-412C-84CF-3B4AAB2E8368}" type="pres">
      <dgm:prSet presAssocID="{D5DA2F46-75CA-48BE-B4FE-668DDF4397FC}" presName="space" presStyleCnt="0"/>
      <dgm:spPr/>
    </dgm:pt>
    <dgm:pt modelId="{F37F7AA4-BBBA-4287-926F-BB0E794E0B75}" type="pres">
      <dgm:prSet presAssocID="{84C6D042-49EA-45BF-BF34-4520D2F4952C}" presName="composite" presStyleCnt="0"/>
      <dgm:spPr/>
    </dgm:pt>
    <dgm:pt modelId="{45D8A25D-87CA-4E0A-85F2-3D16A7C72C1D}" type="pres">
      <dgm:prSet presAssocID="{84C6D042-49EA-45BF-BF34-4520D2F4952C}" presName="parTx" presStyleLbl="alignNode1" presStyleIdx="1" presStyleCnt="2">
        <dgm:presLayoutVars>
          <dgm:chMax val="0"/>
          <dgm:chPref val="0"/>
          <dgm:bulletEnabled val="1"/>
        </dgm:presLayoutVars>
      </dgm:prSet>
      <dgm:spPr/>
    </dgm:pt>
    <dgm:pt modelId="{AD34648F-7D87-49A8-ACEF-388E87F344EC}" type="pres">
      <dgm:prSet presAssocID="{84C6D042-49EA-45BF-BF34-4520D2F4952C}" presName="desTx" presStyleLbl="alignAccFollowNode1" presStyleIdx="1" presStyleCnt="2">
        <dgm:presLayoutVars>
          <dgm:bulletEnabled val="1"/>
        </dgm:presLayoutVars>
      </dgm:prSet>
      <dgm:spPr/>
    </dgm:pt>
  </dgm:ptLst>
  <dgm:cxnLst>
    <dgm:cxn modelId="{1B3C370C-4E53-418D-8AEB-F748B6967729}" type="presOf" srcId="{799E6B04-6284-4FBF-A3E4-FECD49E6A90A}" destId="{AD34648F-7D87-49A8-ACEF-388E87F344EC}" srcOrd="0" destOrd="5" presId="urn:microsoft.com/office/officeart/2005/8/layout/hList1"/>
    <dgm:cxn modelId="{6467180F-3875-4934-A83E-907599B1FD3C}" srcId="{84C6D042-49EA-45BF-BF34-4520D2F4952C}" destId="{38A58C8F-3D4D-4C41-84EC-1E7E5CD045C0}" srcOrd="2" destOrd="0" parTransId="{3D9D2F31-1C64-4CCF-A843-06812EA42B55}" sibTransId="{0ECD15C7-21BD-4A6B-8AD2-B14453BBC7D5}"/>
    <dgm:cxn modelId="{5E3A2717-292E-4D83-AB7F-BAD589B79C7E}" srcId="{456D1D49-6979-4A1B-B069-CC14616C89C5}" destId="{9893C4C8-7CDC-42E7-A899-41E5F12D4289}" srcOrd="4" destOrd="0" parTransId="{2BC13D61-CCF8-463B-90D9-FDA575E960EA}" sibTransId="{A68CB042-C9E4-46AE-BA93-138E05ADC218}"/>
    <dgm:cxn modelId="{E96BFE18-0AEC-4838-8187-B4B41FA26CF5}" srcId="{84C6D042-49EA-45BF-BF34-4520D2F4952C}" destId="{77654ABF-E368-4AAC-AE34-686D9E2BDB5E}" srcOrd="0" destOrd="0" parTransId="{17DD1F40-E0E8-40AA-8817-9C6BB96D4C1F}" sibTransId="{C46BCBCF-89BE-4E9E-8597-174E358AEE34}"/>
    <dgm:cxn modelId="{3B47A219-3AC2-4F75-9546-BF9FB05A62B3}" srcId="{64BF0DCD-E488-4C77-B299-EA375E7B1659}" destId="{84C6D042-49EA-45BF-BF34-4520D2F4952C}" srcOrd="1" destOrd="0" parTransId="{035B6CC2-D8FE-40C1-8735-6CFE06391818}" sibTransId="{4541ADEB-CFBF-4468-A2F9-141754A6501A}"/>
    <dgm:cxn modelId="{A8D08320-8C08-4F9A-BCB6-FF6565057F3D}" type="presOf" srcId="{38A58C8F-3D4D-4C41-84EC-1E7E5CD045C0}" destId="{AD34648F-7D87-49A8-ACEF-388E87F344EC}" srcOrd="0" destOrd="2" presId="urn:microsoft.com/office/officeart/2005/8/layout/hList1"/>
    <dgm:cxn modelId="{C7F72B26-3221-4FE6-85FC-C27C1559A31B}" type="presOf" srcId="{4BC759EE-4BBD-45C1-A456-C6DBD3995E8B}" destId="{AD34648F-7D87-49A8-ACEF-388E87F344EC}" srcOrd="0" destOrd="6" presId="urn:microsoft.com/office/officeart/2005/8/layout/hList1"/>
    <dgm:cxn modelId="{4DD8B038-0A05-4935-AD67-C45E47A1B60F}" type="presOf" srcId="{E9F146BC-EDFF-458C-B75C-2311AE666945}" destId="{AD34648F-7D87-49A8-ACEF-388E87F344EC}" srcOrd="0" destOrd="4" presId="urn:microsoft.com/office/officeart/2005/8/layout/hList1"/>
    <dgm:cxn modelId="{669A4F5D-CC2B-4877-80C7-570B8200749B}" type="presOf" srcId="{E2751BB0-CE0C-4DC9-9092-C1DB48F21F5F}" destId="{AD34648F-7D87-49A8-ACEF-388E87F344EC}" srcOrd="0" destOrd="1" presId="urn:microsoft.com/office/officeart/2005/8/layout/hList1"/>
    <dgm:cxn modelId="{7F204644-4576-46AF-9FCF-DD09ACD388F9}" srcId="{456D1D49-6979-4A1B-B069-CC14616C89C5}" destId="{416A51FF-50BA-4769-A9B3-8FC6714DC899}" srcOrd="1" destOrd="0" parTransId="{D1BF2092-A472-43ED-A548-CDE201F5C24F}" sibTransId="{998B3A49-3DD8-4950-9319-00281840E684}"/>
    <dgm:cxn modelId="{C5D7C64B-2638-4CEE-B662-C96D87D4F008}" srcId="{456D1D49-6979-4A1B-B069-CC14616C89C5}" destId="{9F8A8E49-522D-4085-9A5C-6E559173B8DA}" srcOrd="2" destOrd="0" parTransId="{4D397B02-DB34-40B8-8657-4F8635D24769}" sibTransId="{BC72DF80-36C6-4071-B0FD-112090AEE4FD}"/>
    <dgm:cxn modelId="{A3EFB94C-B9CF-4724-8C74-039911C6E99C}" srcId="{456D1D49-6979-4A1B-B069-CC14616C89C5}" destId="{1CC54FFA-7C20-4DA1-AA81-7DE6D85DE4BF}" srcOrd="0" destOrd="0" parTransId="{5DD522A8-0DF6-4FA6-B3CD-DCBA093E2F82}" sibTransId="{304C4A10-5309-4000-85E8-A91EF32E0570}"/>
    <dgm:cxn modelId="{9559F06F-ED52-4545-8861-4339DD8A6CB8}" type="presOf" srcId="{64BF0DCD-E488-4C77-B299-EA375E7B1659}" destId="{D9444157-FC01-4DF3-B374-D97F2906D86C}" srcOrd="0" destOrd="0" presId="urn:microsoft.com/office/officeart/2005/8/layout/hList1"/>
    <dgm:cxn modelId="{3ACB1670-4C58-400F-AA64-6B17D0F16322}" type="presOf" srcId="{416A51FF-50BA-4769-A9B3-8FC6714DC899}" destId="{E00CBA4F-BD30-43E5-804F-0C1AFABFED89}" srcOrd="0" destOrd="1" presId="urn:microsoft.com/office/officeart/2005/8/layout/hList1"/>
    <dgm:cxn modelId="{94EB6C50-CA1E-46F4-AA3E-79EEBFF90CCB}" type="presOf" srcId="{877304CA-405D-4EF7-8C70-AEAC1D9CC12C}" destId="{AD34648F-7D87-49A8-ACEF-388E87F344EC}" srcOrd="0" destOrd="3" presId="urn:microsoft.com/office/officeart/2005/8/layout/hList1"/>
    <dgm:cxn modelId="{514D4471-3E8A-4534-89D5-5A65076631FE}" type="presOf" srcId="{9F8A8E49-522D-4085-9A5C-6E559173B8DA}" destId="{E00CBA4F-BD30-43E5-804F-0C1AFABFED89}" srcOrd="0" destOrd="2" presId="urn:microsoft.com/office/officeart/2005/8/layout/hList1"/>
    <dgm:cxn modelId="{A40D4D78-9D55-4BCC-B274-C7F3CF875141}" type="presOf" srcId="{1CC54FFA-7C20-4DA1-AA81-7DE6D85DE4BF}" destId="{E00CBA4F-BD30-43E5-804F-0C1AFABFED89}" srcOrd="0" destOrd="0" presId="urn:microsoft.com/office/officeart/2005/8/layout/hList1"/>
    <dgm:cxn modelId="{CE5C5958-C54C-4B66-AC4E-39289A7FC1DC}" srcId="{84C6D042-49EA-45BF-BF34-4520D2F4952C}" destId="{799E6B04-6284-4FBF-A3E4-FECD49E6A90A}" srcOrd="5" destOrd="0" parTransId="{7B6724DA-5DB7-4969-8D23-AFC0E0773708}" sibTransId="{8D69D8F0-08F2-49C8-BFB1-298D57ED2F93}"/>
    <dgm:cxn modelId="{F1B7585A-52D3-4D51-A737-C8DBD0D8CB0B}" srcId="{84C6D042-49EA-45BF-BF34-4520D2F4952C}" destId="{E9F146BC-EDFF-458C-B75C-2311AE666945}" srcOrd="4" destOrd="0" parTransId="{21C7A925-3964-4724-A588-324CFE199F3C}" sibTransId="{C6B06B2E-9644-4DE7-B458-F59D67196DC8}"/>
    <dgm:cxn modelId="{CA7FD07A-EAE0-4F9E-8E5D-E6A380D1CCE4}" type="presOf" srcId="{861CFCB4-98B4-45B6-BAE2-B880CC9E5655}" destId="{E00CBA4F-BD30-43E5-804F-0C1AFABFED89}" srcOrd="0" destOrd="3" presId="urn:microsoft.com/office/officeart/2005/8/layout/hList1"/>
    <dgm:cxn modelId="{7DEEC481-57AD-4CB6-8DB2-F05DB916A9A6}" srcId="{84C6D042-49EA-45BF-BF34-4520D2F4952C}" destId="{4BC759EE-4BBD-45C1-A456-C6DBD3995E8B}" srcOrd="6" destOrd="0" parTransId="{A92F9139-1B15-4528-84DB-88A081D21850}" sibTransId="{6BA9C988-2CC2-4EB1-96B0-1F5152B0D754}"/>
    <dgm:cxn modelId="{71955B95-A3EC-4EFB-A238-DF9687F21FC2}" type="presOf" srcId="{456D1D49-6979-4A1B-B069-CC14616C89C5}" destId="{DECFE222-2D5A-4A1B-9046-4D065BA79C36}" srcOrd="0" destOrd="0" presId="urn:microsoft.com/office/officeart/2005/8/layout/hList1"/>
    <dgm:cxn modelId="{B19412A0-4B5C-47DB-AAF9-8F74FBA614C5}" type="presOf" srcId="{9893C4C8-7CDC-42E7-A899-41E5F12D4289}" destId="{E00CBA4F-BD30-43E5-804F-0C1AFABFED89}" srcOrd="0" destOrd="4" presId="urn:microsoft.com/office/officeart/2005/8/layout/hList1"/>
    <dgm:cxn modelId="{D355EAAD-D1A7-4A90-B7E1-B88CA350CB46}" type="presOf" srcId="{84C6D042-49EA-45BF-BF34-4520D2F4952C}" destId="{45D8A25D-87CA-4E0A-85F2-3D16A7C72C1D}" srcOrd="0" destOrd="0" presId="urn:microsoft.com/office/officeart/2005/8/layout/hList1"/>
    <dgm:cxn modelId="{42F34CAE-D158-4E2F-845D-822CF882EC92}" srcId="{456D1D49-6979-4A1B-B069-CC14616C89C5}" destId="{861CFCB4-98B4-45B6-BAE2-B880CC9E5655}" srcOrd="3" destOrd="0" parTransId="{0A5A0CCD-DFDA-4959-A69B-2BC358AFA8F6}" sibTransId="{CF3E7107-0043-4018-A7A5-9BCBA3A42497}"/>
    <dgm:cxn modelId="{58E8E1B5-72C9-4FBD-8DDA-EDDF61AA7849}" srcId="{84C6D042-49EA-45BF-BF34-4520D2F4952C}" destId="{E2751BB0-CE0C-4DC9-9092-C1DB48F21F5F}" srcOrd="1" destOrd="0" parTransId="{8320C4EF-E2F9-4392-9B8F-A785C4C728BB}" sibTransId="{933B252D-9329-4419-AD11-90E29EFDBC4F}"/>
    <dgm:cxn modelId="{5C1882B6-71BF-42B2-8F9E-00D5C2105316}" type="presOf" srcId="{77654ABF-E368-4AAC-AE34-686D9E2BDB5E}" destId="{AD34648F-7D87-49A8-ACEF-388E87F344EC}" srcOrd="0" destOrd="0" presId="urn:microsoft.com/office/officeart/2005/8/layout/hList1"/>
    <dgm:cxn modelId="{1B6B91BD-FF66-42EB-AE69-7BAEADEFA8DC}" srcId="{64BF0DCD-E488-4C77-B299-EA375E7B1659}" destId="{456D1D49-6979-4A1B-B069-CC14616C89C5}" srcOrd="0" destOrd="0" parTransId="{4726CEC5-2192-4EB0-869C-847C34107D6B}" sibTransId="{D5DA2F46-75CA-48BE-B4FE-668DDF4397FC}"/>
    <dgm:cxn modelId="{087B96E3-B086-4884-B5F3-48A49387373C}" srcId="{84C6D042-49EA-45BF-BF34-4520D2F4952C}" destId="{877304CA-405D-4EF7-8C70-AEAC1D9CC12C}" srcOrd="3" destOrd="0" parTransId="{5E25B814-8E08-4381-BAE9-CED23AEE97BC}" sibTransId="{81E53434-112A-41E9-8E19-7304E6676984}"/>
    <dgm:cxn modelId="{B7A2E2C1-EC34-4A5D-B2BC-3725BD6CDAC4}" type="presParOf" srcId="{D9444157-FC01-4DF3-B374-D97F2906D86C}" destId="{1B9B13D9-BA84-4C8A-A7F1-2A82B8E9B0FC}" srcOrd="0" destOrd="0" presId="urn:microsoft.com/office/officeart/2005/8/layout/hList1"/>
    <dgm:cxn modelId="{69DD68C5-A162-465A-A3B0-24F7C18B24B6}" type="presParOf" srcId="{1B9B13D9-BA84-4C8A-A7F1-2A82B8E9B0FC}" destId="{DECFE222-2D5A-4A1B-9046-4D065BA79C36}" srcOrd="0" destOrd="0" presId="urn:microsoft.com/office/officeart/2005/8/layout/hList1"/>
    <dgm:cxn modelId="{BF16BDAB-6AD3-4C41-A93B-DB5D35AD5CEE}" type="presParOf" srcId="{1B9B13D9-BA84-4C8A-A7F1-2A82B8E9B0FC}" destId="{E00CBA4F-BD30-43E5-804F-0C1AFABFED89}" srcOrd="1" destOrd="0" presId="urn:microsoft.com/office/officeart/2005/8/layout/hList1"/>
    <dgm:cxn modelId="{D5B8FC0F-BA47-40A3-911F-F4E22D9523D8}" type="presParOf" srcId="{D9444157-FC01-4DF3-B374-D97F2906D86C}" destId="{35678607-AC5C-412C-84CF-3B4AAB2E8368}" srcOrd="1" destOrd="0" presId="urn:microsoft.com/office/officeart/2005/8/layout/hList1"/>
    <dgm:cxn modelId="{CF05D126-C8F4-4EE1-84E8-518E24960A88}" type="presParOf" srcId="{D9444157-FC01-4DF3-B374-D97F2906D86C}" destId="{F37F7AA4-BBBA-4287-926F-BB0E794E0B75}" srcOrd="2" destOrd="0" presId="urn:microsoft.com/office/officeart/2005/8/layout/hList1"/>
    <dgm:cxn modelId="{BE247666-C8C0-497D-A6F9-42C93F3309C9}" type="presParOf" srcId="{F37F7AA4-BBBA-4287-926F-BB0E794E0B75}" destId="{45D8A25D-87CA-4E0A-85F2-3D16A7C72C1D}" srcOrd="0" destOrd="0" presId="urn:microsoft.com/office/officeart/2005/8/layout/hList1"/>
    <dgm:cxn modelId="{59BFD6E9-B41A-4755-9016-E8F609CB1EA6}" type="presParOf" srcId="{F37F7AA4-BBBA-4287-926F-BB0E794E0B75}" destId="{AD34648F-7D87-49A8-ACEF-388E87F344EC}"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B35A029-B5B0-469E-AB39-8CABD215B099}" type="doc">
      <dgm:prSet loTypeId="urn:microsoft.com/office/officeart/2005/8/layout/equation1" loCatId="process" qsTypeId="urn:microsoft.com/office/officeart/2005/8/quickstyle/simple1" qsCatId="simple" csTypeId="urn:microsoft.com/office/officeart/2005/8/colors/accent0_3" csCatId="mainScheme" phldr="1"/>
      <dgm:spPr/>
    </dgm:pt>
    <dgm:pt modelId="{D314815A-C099-4DFC-A019-7E3BC830CA88}">
      <dgm:prSet phldrT="[Text]"/>
      <dgm:spPr/>
      <dgm:t>
        <a:bodyPr/>
        <a:lstStyle/>
        <a:p>
          <a:r>
            <a:rPr lang="en-US">
              <a:latin typeface="Segoe UI Light" panose="020B0502040204020203" pitchFamily="34" charset="0"/>
              <a:cs typeface="Segoe UI Light" panose="020B0502040204020203" pitchFamily="34" charset="0"/>
            </a:rPr>
            <a:t>CPU Time (RUNNING)</a:t>
          </a:r>
          <a:endParaRPr lang="pt-PT">
            <a:latin typeface="Segoe UI Light" panose="020B0502040204020203" pitchFamily="34" charset="0"/>
            <a:cs typeface="Segoe UI Light" panose="020B0502040204020203" pitchFamily="34" charset="0"/>
          </a:endParaRPr>
        </a:p>
      </dgm:t>
    </dgm:pt>
    <dgm:pt modelId="{056B3F22-BF06-463C-95F0-406A106E0349}" type="parTrans" cxnId="{5E136964-2FFF-4A2C-A414-BD39E9C6601F}">
      <dgm:prSet/>
      <dgm:spPr/>
      <dgm:t>
        <a:bodyPr/>
        <a:lstStyle/>
        <a:p>
          <a:endParaRPr lang="pt-PT">
            <a:latin typeface="Segoe UI Light" panose="020B0502040204020203" pitchFamily="34" charset="0"/>
            <a:cs typeface="Segoe UI Light" panose="020B0502040204020203" pitchFamily="34" charset="0"/>
          </a:endParaRPr>
        </a:p>
      </dgm:t>
    </dgm:pt>
    <dgm:pt modelId="{70E3976A-575C-446D-8AAD-C4187B931A0A}" type="sibTrans" cxnId="{5E136964-2FFF-4A2C-A414-BD39E9C6601F}">
      <dgm:prSet/>
      <dgm:spPr/>
      <dgm:t>
        <a:bodyPr/>
        <a:lstStyle/>
        <a:p>
          <a:endParaRPr lang="pt-PT">
            <a:latin typeface="Segoe UI Light" panose="020B0502040204020203" pitchFamily="34" charset="0"/>
            <a:cs typeface="Segoe UI Light" panose="020B0502040204020203" pitchFamily="34" charset="0"/>
          </a:endParaRPr>
        </a:p>
      </dgm:t>
    </dgm:pt>
    <dgm:pt modelId="{6E821775-9F97-4722-9828-9CC231903B07}">
      <dgm:prSet phldrT="[Text]"/>
      <dgm:spPr/>
      <dgm:t>
        <a:bodyPr/>
        <a:lstStyle/>
        <a:p>
          <a:r>
            <a:rPr lang="pt-PT">
              <a:latin typeface="Segoe UI Light" panose="020B0502040204020203" pitchFamily="34" charset="0"/>
              <a:cs typeface="Segoe UI Light" panose="020B0502040204020203" pitchFamily="34" charset="0"/>
            </a:rPr>
            <a:t>Total Query Response Time</a:t>
          </a:r>
        </a:p>
      </dgm:t>
    </dgm:pt>
    <dgm:pt modelId="{70E05511-033F-4232-BE52-4C289F8A5EA0}" type="parTrans" cxnId="{F2502EE9-274F-413F-B879-47B13BEBDA79}">
      <dgm:prSet/>
      <dgm:spPr/>
      <dgm:t>
        <a:bodyPr/>
        <a:lstStyle/>
        <a:p>
          <a:endParaRPr lang="pt-PT">
            <a:latin typeface="Segoe UI Light" panose="020B0502040204020203" pitchFamily="34" charset="0"/>
            <a:cs typeface="Segoe UI Light" panose="020B0502040204020203" pitchFamily="34" charset="0"/>
          </a:endParaRPr>
        </a:p>
      </dgm:t>
    </dgm:pt>
    <dgm:pt modelId="{02FF7F3D-563E-4DBF-AE63-33ECBE6EA5AC}" type="sibTrans" cxnId="{F2502EE9-274F-413F-B879-47B13BEBDA79}">
      <dgm:prSet/>
      <dgm:spPr/>
      <dgm:t>
        <a:bodyPr/>
        <a:lstStyle/>
        <a:p>
          <a:endParaRPr lang="pt-PT">
            <a:latin typeface="Segoe UI Light" panose="020B0502040204020203" pitchFamily="34" charset="0"/>
            <a:cs typeface="Segoe UI Light" panose="020B0502040204020203" pitchFamily="34" charset="0"/>
          </a:endParaRPr>
        </a:p>
      </dgm:t>
    </dgm:pt>
    <dgm:pt modelId="{C93C4C6A-9402-45DE-A18A-BD144BF404B8}">
      <dgm:prSet phldrT="[Text]"/>
      <dgm:spPr/>
      <dgm:t>
        <a:bodyPr/>
        <a:lstStyle/>
        <a:p>
          <a:r>
            <a:rPr lang="en-US">
              <a:latin typeface="Segoe UI Light" panose="020B0502040204020203" pitchFamily="34" charset="0"/>
              <a:cs typeface="Segoe UI Light" panose="020B0502040204020203" pitchFamily="34" charset="0"/>
            </a:rPr>
            <a:t>Signal Wait Time (RUNNABLE)</a:t>
          </a:r>
          <a:endParaRPr lang="pt-PT">
            <a:latin typeface="Segoe UI Light" panose="020B0502040204020203" pitchFamily="34" charset="0"/>
            <a:cs typeface="Segoe UI Light" panose="020B0502040204020203" pitchFamily="34" charset="0"/>
          </a:endParaRPr>
        </a:p>
      </dgm:t>
    </dgm:pt>
    <dgm:pt modelId="{9867C768-687D-49C5-8400-7BEA31BCCD3A}" type="parTrans" cxnId="{381C370D-F00E-4779-81FC-0A5A6E898B01}">
      <dgm:prSet/>
      <dgm:spPr/>
      <dgm:t>
        <a:bodyPr/>
        <a:lstStyle/>
        <a:p>
          <a:endParaRPr lang="en-US"/>
        </a:p>
      </dgm:t>
    </dgm:pt>
    <dgm:pt modelId="{5A623CA4-550C-412F-9EF6-B065066EAABF}" type="sibTrans" cxnId="{381C370D-F00E-4779-81FC-0A5A6E898B01}">
      <dgm:prSet/>
      <dgm:spPr/>
      <dgm:t>
        <a:bodyPr/>
        <a:lstStyle/>
        <a:p>
          <a:endParaRPr lang="en-US"/>
        </a:p>
      </dgm:t>
    </dgm:pt>
    <dgm:pt modelId="{0781EDC9-B2A9-4D17-894E-C2B369D4771A}">
      <dgm:prSet phldrT="[Text]"/>
      <dgm:spPr/>
      <dgm:t>
        <a:bodyPr/>
        <a:lstStyle/>
        <a:p>
          <a:r>
            <a:rPr lang="en-US">
              <a:latin typeface="Segoe UI Light" panose="020B0502040204020203" pitchFamily="34" charset="0"/>
              <a:cs typeface="Segoe UI Light" panose="020B0502040204020203" pitchFamily="34" charset="0"/>
            </a:rPr>
            <a:t>Resource Wait Time (SUSPENDED)</a:t>
          </a:r>
          <a:endParaRPr lang="pt-PT">
            <a:latin typeface="Segoe UI Light" panose="020B0502040204020203" pitchFamily="34" charset="0"/>
            <a:cs typeface="Segoe UI Light" panose="020B0502040204020203" pitchFamily="34" charset="0"/>
          </a:endParaRPr>
        </a:p>
      </dgm:t>
    </dgm:pt>
    <dgm:pt modelId="{3E93F19D-2AA0-4533-B428-8E7AB7F767B3}" type="parTrans" cxnId="{C8E38A1A-F592-4925-A43C-FB1FF9AD2ED5}">
      <dgm:prSet/>
      <dgm:spPr/>
      <dgm:t>
        <a:bodyPr/>
        <a:lstStyle/>
        <a:p>
          <a:endParaRPr lang="en-US"/>
        </a:p>
      </dgm:t>
    </dgm:pt>
    <dgm:pt modelId="{D81E2ED9-E419-4AB8-8B97-711DDB59EB55}" type="sibTrans" cxnId="{C8E38A1A-F592-4925-A43C-FB1FF9AD2ED5}">
      <dgm:prSet/>
      <dgm:spPr/>
      <dgm:t>
        <a:bodyPr/>
        <a:lstStyle/>
        <a:p>
          <a:endParaRPr lang="en-US"/>
        </a:p>
      </dgm:t>
    </dgm:pt>
    <dgm:pt modelId="{263D1411-8B94-4BD3-86FE-2A81E0FA527D}" type="pres">
      <dgm:prSet presAssocID="{AB35A029-B5B0-469E-AB39-8CABD215B099}" presName="linearFlow" presStyleCnt="0">
        <dgm:presLayoutVars>
          <dgm:dir/>
          <dgm:resizeHandles val="exact"/>
        </dgm:presLayoutVars>
      </dgm:prSet>
      <dgm:spPr/>
    </dgm:pt>
    <dgm:pt modelId="{F0F50DC7-A385-4C3D-85E8-5A190CB72709}" type="pres">
      <dgm:prSet presAssocID="{D314815A-C099-4DFC-A019-7E3BC830CA88}" presName="node" presStyleLbl="node1" presStyleIdx="0" presStyleCnt="4">
        <dgm:presLayoutVars>
          <dgm:bulletEnabled val="1"/>
        </dgm:presLayoutVars>
      </dgm:prSet>
      <dgm:spPr/>
    </dgm:pt>
    <dgm:pt modelId="{9D909C93-961C-4D42-A56F-573BF303D3EB}" type="pres">
      <dgm:prSet presAssocID="{70E3976A-575C-446D-8AAD-C4187B931A0A}" presName="spacerL" presStyleCnt="0"/>
      <dgm:spPr/>
    </dgm:pt>
    <dgm:pt modelId="{6673E2C0-687C-4813-9CDF-C1D7AB877466}" type="pres">
      <dgm:prSet presAssocID="{70E3976A-575C-446D-8AAD-C4187B931A0A}" presName="sibTrans" presStyleLbl="sibTrans2D1" presStyleIdx="0" presStyleCnt="3"/>
      <dgm:spPr/>
    </dgm:pt>
    <dgm:pt modelId="{AAD7898C-5FD6-4578-A749-1FC8705C0B87}" type="pres">
      <dgm:prSet presAssocID="{70E3976A-575C-446D-8AAD-C4187B931A0A}" presName="spacerR" presStyleCnt="0"/>
      <dgm:spPr/>
    </dgm:pt>
    <dgm:pt modelId="{10CBBA21-79EB-41F6-B412-F391EAA0507A}" type="pres">
      <dgm:prSet presAssocID="{C93C4C6A-9402-45DE-A18A-BD144BF404B8}" presName="node" presStyleLbl="node1" presStyleIdx="1" presStyleCnt="4">
        <dgm:presLayoutVars>
          <dgm:bulletEnabled val="1"/>
        </dgm:presLayoutVars>
      </dgm:prSet>
      <dgm:spPr/>
    </dgm:pt>
    <dgm:pt modelId="{7DF48E54-3BD7-422B-B7D0-B15DBFC5ACB4}" type="pres">
      <dgm:prSet presAssocID="{5A623CA4-550C-412F-9EF6-B065066EAABF}" presName="spacerL" presStyleCnt="0"/>
      <dgm:spPr/>
    </dgm:pt>
    <dgm:pt modelId="{8B0DDA86-1B95-48DA-B6BA-3D7A249A161A}" type="pres">
      <dgm:prSet presAssocID="{5A623CA4-550C-412F-9EF6-B065066EAABF}" presName="sibTrans" presStyleLbl="sibTrans2D1" presStyleIdx="1" presStyleCnt="3"/>
      <dgm:spPr/>
    </dgm:pt>
    <dgm:pt modelId="{A6376049-2292-4B32-ABDC-EAF619E7D27C}" type="pres">
      <dgm:prSet presAssocID="{5A623CA4-550C-412F-9EF6-B065066EAABF}" presName="spacerR" presStyleCnt="0"/>
      <dgm:spPr/>
    </dgm:pt>
    <dgm:pt modelId="{8654DA70-295E-47B4-95D9-098230C9A89A}" type="pres">
      <dgm:prSet presAssocID="{0781EDC9-B2A9-4D17-894E-C2B369D4771A}" presName="node" presStyleLbl="node1" presStyleIdx="2" presStyleCnt="4">
        <dgm:presLayoutVars>
          <dgm:bulletEnabled val="1"/>
        </dgm:presLayoutVars>
      </dgm:prSet>
      <dgm:spPr/>
    </dgm:pt>
    <dgm:pt modelId="{D46D89DA-5BE8-4685-940C-3D53E21A4601}" type="pres">
      <dgm:prSet presAssocID="{D81E2ED9-E419-4AB8-8B97-711DDB59EB55}" presName="spacerL" presStyleCnt="0"/>
      <dgm:spPr/>
    </dgm:pt>
    <dgm:pt modelId="{46BABBF9-D006-443D-8111-5C6F404BF7AA}" type="pres">
      <dgm:prSet presAssocID="{D81E2ED9-E419-4AB8-8B97-711DDB59EB55}" presName="sibTrans" presStyleLbl="sibTrans2D1" presStyleIdx="2" presStyleCnt="3"/>
      <dgm:spPr/>
    </dgm:pt>
    <dgm:pt modelId="{79E14D49-221A-4119-A0CA-7F054AC847A2}" type="pres">
      <dgm:prSet presAssocID="{D81E2ED9-E419-4AB8-8B97-711DDB59EB55}" presName="spacerR" presStyleCnt="0"/>
      <dgm:spPr/>
    </dgm:pt>
    <dgm:pt modelId="{1E63E032-A34B-40F9-9996-7094989E1D20}" type="pres">
      <dgm:prSet presAssocID="{6E821775-9F97-4722-9828-9CC231903B07}" presName="node" presStyleLbl="node1" presStyleIdx="3" presStyleCnt="4">
        <dgm:presLayoutVars>
          <dgm:bulletEnabled val="1"/>
        </dgm:presLayoutVars>
      </dgm:prSet>
      <dgm:spPr/>
    </dgm:pt>
  </dgm:ptLst>
  <dgm:cxnLst>
    <dgm:cxn modelId="{CB007802-C416-40F2-A17B-4CCB9AEF29D2}" type="presOf" srcId="{AB35A029-B5B0-469E-AB39-8CABD215B099}" destId="{263D1411-8B94-4BD3-86FE-2A81E0FA527D}" srcOrd="0" destOrd="0" presId="urn:microsoft.com/office/officeart/2005/8/layout/equation1"/>
    <dgm:cxn modelId="{A6671A06-22E0-4CD8-800E-85E5983261AC}" type="presOf" srcId="{70E3976A-575C-446D-8AAD-C4187B931A0A}" destId="{6673E2C0-687C-4813-9CDF-C1D7AB877466}" srcOrd="0" destOrd="0" presId="urn:microsoft.com/office/officeart/2005/8/layout/equation1"/>
    <dgm:cxn modelId="{381C370D-F00E-4779-81FC-0A5A6E898B01}" srcId="{AB35A029-B5B0-469E-AB39-8CABD215B099}" destId="{C93C4C6A-9402-45DE-A18A-BD144BF404B8}" srcOrd="1" destOrd="0" parTransId="{9867C768-687D-49C5-8400-7BEA31BCCD3A}" sibTransId="{5A623CA4-550C-412F-9EF6-B065066EAABF}"/>
    <dgm:cxn modelId="{ACD5B518-8214-4ACE-92F5-2106E579D1B7}" type="presOf" srcId="{5A623CA4-550C-412F-9EF6-B065066EAABF}" destId="{8B0DDA86-1B95-48DA-B6BA-3D7A249A161A}" srcOrd="0" destOrd="0" presId="urn:microsoft.com/office/officeart/2005/8/layout/equation1"/>
    <dgm:cxn modelId="{C8E38A1A-F592-4925-A43C-FB1FF9AD2ED5}" srcId="{AB35A029-B5B0-469E-AB39-8CABD215B099}" destId="{0781EDC9-B2A9-4D17-894E-C2B369D4771A}" srcOrd="2" destOrd="0" parTransId="{3E93F19D-2AA0-4533-B428-8E7AB7F767B3}" sibTransId="{D81E2ED9-E419-4AB8-8B97-711DDB59EB55}"/>
    <dgm:cxn modelId="{F2A91F1F-1368-465A-8C77-0525252E7408}" type="presOf" srcId="{0781EDC9-B2A9-4D17-894E-C2B369D4771A}" destId="{8654DA70-295E-47B4-95D9-098230C9A89A}" srcOrd="0" destOrd="0" presId="urn:microsoft.com/office/officeart/2005/8/layout/equation1"/>
    <dgm:cxn modelId="{21A20A61-6861-48D7-8C53-F96CA262C5BC}" type="presOf" srcId="{D81E2ED9-E419-4AB8-8B97-711DDB59EB55}" destId="{46BABBF9-D006-443D-8111-5C6F404BF7AA}" srcOrd="0" destOrd="0" presId="urn:microsoft.com/office/officeart/2005/8/layout/equation1"/>
    <dgm:cxn modelId="{A1FC5263-6F79-4A71-8D7B-91C3CC177824}" type="presOf" srcId="{D314815A-C099-4DFC-A019-7E3BC830CA88}" destId="{F0F50DC7-A385-4C3D-85E8-5A190CB72709}" srcOrd="0" destOrd="0" presId="urn:microsoft.com/office/officeart/2005/8/layout/equation1"/>
    <dgm:cxn modelId="{5E136964-2FFF-4A2C-A414-BD39E9C6601F}" srcId="{AB35A029-B5B0-469E-AB39-8CABD215B099}" destId="{D314815A-C099-4DFC-A019-7E3BC830CA88}" srcOrd="0" destOrd="0" parTransId="{056B3F22-BF06-463C-95F0-406A106E0349}" sibTransId="{70E3976A-575C-446D-8AAD-C4187B931A0A}"/>
    <dgm:cxn modelId="{015833A1-A4D1-454A-BFEB-712BE11827AA}" type="presOf" srcId="{C93C4C6A-9402-45DE-A18A-BD144BF404B8}" destId="{10CBBA21-79EB-41F6-B412-F391EAA0507A}" srcOrd="0" destOrd="0" presId="urn:microsoft.com/office/officeart/2005/8/layout/equation1"/>
    <dgm:cxn modelId="{FF09D0E2-2736-43F0-B1F6-2E79A86D1560}" type="presOf" srcId="{6E821775-9F97-4722-9828-9CC231903B07}" destId="{1E63E032-A34B-40F9-9996-7094989E1D20}" srcOrd="0" destOrd="0" presId="urn:microsoft.com/office/officeart/2005/8/layout/equation1"/>
    <dgm:cxn modelId="{F2502EE9-274F-413F-B879-47B13BEBDA79}" srcId="{AB35A029-B5B0-469E-AB39-8CABD215B099}" destId="{6E821775-9F97-4722-9828-9CC231903B07}" srcOrd="3" destOrd="0" parTransId="{70E05511-033F-4232-BE52-4C289F8A5EA0}" sibTransId="{02FF7F3D-563E-4DBF-AE63-33ECBE6EA5AC}"/>
    <dgm:cxn modelId="{7F2D2C44-CB2B-4048-BDF4-EF71EFD2069C}" type="presParOf" srcId="{263D1411-8B94-4BD3-86FE-2A81E0FA527D}" destId="{F0F50DC7-A385-4C3D-85E8-5A190CB72709}" srcOrd="0" destOrd="0" presId="urn:microsoft.com/office/officeart/2005/8/layout/equation1"/>
    <dgm:cxn modelId="{103E8CCA-F962-450E-A304-762A4334EC6D}" type="presParOf" srcId="{263D1411-8B94-4BD3-86FE-2A81E0FA527D}" destId="{9D909C93-961C-4D42-A56F-573BF303D3EB}" srcOrd="1" destOrd="0" presId="urn:microsoft.com/office/officeart/2005/8/layout/equation1"/>
    <dgm:cxn modelId="{D31B2CBA-534E-456A-BBC4-EC6215831690}" type="presParOf" srcId="{263D1411-8B94-4BD3-86FE-2A81E0FA527D}" destId="{6673E2C0-687C-4813-9CDF-C1D7AB877466}" srcOrd="2" destOrd="0" presId="urn:microsoft.com/office/officeart/2005/8/layout/equation1"/>
    <dgm:cxn modelId="{DC82742D-4EC2-42AE-861E-AFE2CACDB7A8}" type="presParOf" srcId="{263D1411-8B94-4BD3-86FE-2A81E0FA527D}" destId="{AAD7898C-5FD6-4578-A749-1FC8705C0B87}" srcOrd="3" destOrd="0" presId="urn:microsoft.com/office/officeart/2005/8/layout/equation1"/>
    <dgm:cxn modelId="{880364C0-B8EE-4CA2-BBF9-4ED105743CC9}" type="presParOf" srcId="{263D1411-8B94-4BD3-86FE-2A81E0FA527D}" destId="{10CBBA21-79EB-41F6-B412-F391EAA0507A}" srcOrd="4" destOrd="0" presId="urn:microsoft.com/office/officeart/2005/8/layout/equation1"/>
    <dgm:cxn modelId="{605F09AF-6F1F-439F-A9BE-56126684B4CC}" type="presParOf" srcId="{263D1411-8B94-4BD3-86FE-2A81E0FA527D}" destId="{7DF48E54-3BD7-422B-B7D0-B15DBFC5ACB4}" srcOrd="5" destOrd="0" presId="urn:microsoft.com/office/officeart/2005/8/layout/equation1"/>
    <dgm:cxn modelId="{8DE0BBA8-9999-4A40-8E72-D127F2EF6273}" type="presParOf" srcId="{263D1411-8B94-4BD3-86FE-2A81E0FA527D}" destId="{8B0DDA86-1B95-48DA-B6BA-3D7A249A161A}" srcOrd="6" destOrd="0" presId="urn:microsoft.com/office/officeart/2005/8/layout/equation1"/>
    <dgm:cxn modelId="{CD6BAFFC-A9B0-41DA-88B5-A0F554764567}" type="presParOf" srcId="{263D1411-8B94-4BD3-86FE-2A81E0FA527D}" destId="{A6376049-2292-4B32-ABDC-EAF619E7D27C}" srcOrd="7" destOrd="0" presId="urn:microsoft.com/office/officeart/2005/8/layout/equation1"/>
    <dgm:cxn modelId="{E2492B6E-2F81-442E-84F2-C95AFB0F8830}" type="presParOf" srcId="{263D1411-8B94-4BD3-86FE-2A81E0FA527D}" destId="{8654DA70-295E-47B4-95D9-098230C9A89A}" srcOrd="8" destOrd="0" presId="urn:microsoft.com/office/officeart/2005/8/layout/equation1"/>
    <dgm:cxn modelId="{B561FD97-1D72-4BB0-A57E-6BFEFC64AECD}" type="presParOf" srcId="{263D1411-8B94-4BD3-86FE-2A81E0FA527D}" destId="{D46D89DA-5BE8-4685-940C-3D53E21A4601}" srcOrd="9" destOrd="0" presId="urn:microsoft.com/office/officeart/2005/8/layout/equation1"/>
    <dgm:cxn modelId="{784EB207-23E9-4902-B058-39923F29008C}" type="presParOf" srcId="{263D1411-8B94-4BD3-86FE-2A81E0FA527D}" destId="{46BABBF9-D006-443D-8111-5C6F404BF7AA}" srcOrd="10" destOrd="0" presId="urn:microsoft.com/office/officeart/2005/8/layout/equation1"/>
    <dgm:cxn modelId="{2FFB14CB-1874-41D4-BDDC-8B5931450C93}" type="presParOf" srcId="{263D1411-8B94-4BD3-86FE-2A81E0FA527D}" destId="{79E14D49-221A-4119-A0CA-7F054AC847A2}" srcOrd="11" destOrd="0" presId="urn:microsoft.com/office/officeart/2005/8/layout/equation1"/>
    <dgm:cxn modelId="{0D1D8947-69ED-42CB-A1C4-A92AFE56906C}" type="presParOf" srcId="{263D1411-8B94-4BD3-86FE-2A81E0FA527D}" destId="{1E63E032-A34B-40F9-9996-7094989E1D20}" srcOrd="12" destOrd="0" presId="urn:microsoft.com/office/officeart/2005/8/layout/equati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A0924796-BDC3-405D-8635-AE34D000321A}"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57EBDB80-F253-46BF-9E5A-2D1499E1E15A}">
      <dgm:prSet/>
      <dgm:spPr>
        <a:xfrm>
          <a:off x="0" y="16655"/>
          <a:ext cx="8335963" cy="643500"/>
        </a:xfrm>
      </dgm:spPr>
      <dgm:t>
        <a:bodyPr/>
        <a:lstStyle/>
        <a:p>
          <a:pPr rtl="0"/>
          <a:r>
            <a:rPr lang="pt-PT" dirty="0"/>
            <a:t>sys.dm_os_wait_stats</a:t>
          </a:r>
        </a:p>
      </dgm:t>
    </dgm:pt>
    <dgm:pt modelId="{8C7F44D3-9D51-4B9B-B6DB-46F0AAC7FC3C}" type="parTrans" cxnId="{75F4DFF6-3474-4E99-9CA6-FBB41C90AD5C}">
      <dgm:prSet/>
      <dgm:spPr/>
      <dgm:t>
        <a:bodyPr/>
        <a:lstStyle/>
        <a:p>
          <a:endParaRPr lang="en-US"/>
        </a:p>
      </dgm:t>
    </dgm:pt>
    <dgm:pt modelId="{3C7700C1-E7C7-4BB1-B2A2-8028AF369FE3}" type="sibTrans" cxnId="{75F4DFF6-3474-4E99-9CA6-FBB41C90AD5C}">
      <dgm:prSet/>
      <dgm:spPr/>
      <dgm:t>
        <a:bodyPr/>
        <a:lstStyle/>
        <a:p>
          <a:endParaRPr lang="en-US"/>
        </a:p>
      </dgm:t>
    </dgm:pt>
    <dgm:pt modelId="{9F9BB641-2FAB-4448-ADFE-0344A891994E}">
      <dgm:prSet/>
      <dgm:spPr>
        <a:xfrm>
          <a:off x="0" y="678449"/>
          <a:ext cx="8335963" cy="1371375"/>
        </a:xfrm>
      </dgm:spPr>
      <dgm:t>
        <a:bodyPr/>
        <a:lstStyle/>
        <a:p>
          <a:pPr rtl="0"/>
          <a:r>
            <a:rPr lang="en-US" dirty="0"/>
            <a:t>Returns information about all the waits encountered by threads that ran.</a:t>
          </a:r>
        </a:p>
      </dgm:t>
    </dgm:pt>
    <dgm:pt modelId="{575070E5-9C94-4B66-8407-4F6704436A63}" type="parTrans" cxnId="{A5E7F190-2776-40F0-8EA0-1E7F87B96C97}">
      <dgm:prSet/>
      <dgm:spPr/>
      <dgm:t>
        <a:bodyPr/>
        <a:lstStyle/>
        <a:p>
          <a:endParaRPr lang="en-US"/>
        </a:p>
      </dgm:t>
    </dgm:pt>
    <dgm:pt modelId="{07E36453-8A29-4AA7-8E47-DA7D9372F853}" type="sibTrans" cxnId="{A5E7F190-2776-40F0-8EA0-1E7F87B96C97}">
      <dgm:prSet/>
      <dgm:spPr/>
      <dgm:t>
        <a:bodyPr/>
        <a:lstStyle/>
        <a:p>
          <a:endParaRPr lang="en-US"/>
        </a:p>
      </dgm:t>
    </dgm:pt>
    <dgm:pt modelId="{63C1DFCD-C2BE-40CC-9A67-5EBC39657F1E}">
      <dgm:prSet/>
      <dgm:spPr>
        <a:xfrm>
          <a:off x="0" y="2049825"/>
          <a:ext cx="8335963" cy="643500"/>
        </a:xfrm>
      </dgm:spPr>
      <dgm:t>
        <a:bodyPr/>
        <a:lstStyle/>
        <a:p>
          <a:pPr rtl="0"/>
          <a:r>
            <a:rPr lang="pt-PT" dirty="0"/>
            <a:t>sys.dm_os_waiting_tasks</a:t>
          </a:r>
        </a:p>
      </dgm:t>
    </dgm:pt>
    <dgm:pt modelId="{7C920847-D1C2-43DD-AD58-1452ADE2643F}" type="parTrans" cxnId="{8C5EFD2C-0A3D-45AA-BFF9-8499B8405326}">
      <dgm:prSet/>
      <dgm:spPr/>
      <dgm:t>
        <a:bodyPr/>
        <a:lstStyle/>
        <a:p>
          <a:endParaRPr lang="en-US"/>
        </a:p>
      </dgm:t>
    </dgm:pt>
    <dgm:pt modelId="{D12D8CD5-7057-4FFF-8934-C6382F9DB915}" type="sibTrans" cxnId="{8C5EFD2C-0A3D-45AA-BFF9-8499B8405326}">
      <dgm:prSet/>
      <dgm:spPr/>
      <dgm:t>
        <a:bodyPr/>
        <a:lstStyle/>
        <a:p>
          <a:endParaRPr lang="en-US"/>
        </a:p>
      </dgm:t>
    </dgm:pt>
    <dgm:pt modelId="{9EDF0C33-87FD-4C95-BE09-E3673D0F4960}">
      <dgm:prSet/>
      <dgm:spPr>
        <a:xfrm>
          <a:off x="0" y="2693325"/>
          <a:ext cx="8335963" cy="672750"/>
        </a:xfrm>
      </dgm:spPr>
      <dgm:t>
        <a:bodyPr/>
        <a:lstStyle/>
        <a:p>
          <a:pPr rtl="0"/>
          <a:r>
            <a:rPr lang="en-US" dirty="0"/>
            <a:t>Returns information about the wait queue of tasks actively waiting on some resource.</a:t>
          </a:r>
        </a:p>
      </dgm:t>
    </dgm:pt>
    <dgm:pt modelId="{6FB6A413-4654-4D26-BE88-EF2191EC0B59}" type="parTrans" cxnId="{35DF8325-A25A-4C39-ADC6-53427D673CCD}">
      <dgm:prSet/>
      <dgm:spPr/>
      <dgm:t>
        <a:bodyPr/>
        <a:lstStyle/>
        <a:p>
          <a:endParaRPr lang="en-US"/>
        </a:p>
      </dgm:t>
    </dgm:pt>
    <dgm:pt modelId="{D3098B60-4B9E-4895-A0CA-EFCD3450C505}" type="sibTrans" cxnId="{35DF8325-A25A-4C39-ADC6-53427D673CCD}">
      <dgm:prSet/>
      <dgm:spPr/>
      <dgm:t>
        <a:bodyPr/>
        <a:lstStyle/>
        <a:p>
          <a:endParaRPr lang="en-US"/>
        </a:p>
      </dgm:t>
    </dgm:pt>
    <dgm:pt modelId="{B80D35A9-A3A0-4029-ADF0-AAC4EC82AC03}">
      <dgm:prSet/>
      <dgm:spPr>
        <a:xfrm>
          <a:off x="0" y="678449"/>
          <a:ext cx="8335963" cy="1371375"/>
        </a:xfrm>
      </dgm:spPr>
      <dgm:t>
        <a:bodyPr/>
        <a:lstStyle/>
        <a:p>
          <a:pPr rtl="0"/>
          <a:r>
            <a:rPr lang="en-US" dirty="0"/>
            <a:t>Includes wait type, number of tasks that waited in the specific wait type, total and max wait times, and the amount of signal waits.</a:t>
          </a:r>
        </a:p>
      </dgm:t>
    </dgm:pt>
    <dgm:pt modelId="{0235F7DF-71A5-417E-9C03-F856B0DD1EC6}" type="parTrans" cxnId="{D928EACA-1BE5-46D3-816D-E15941D5D675}">
      <dgm:prSet/>
      <dgm:spPr/>
      <dgm:t>
        <a:bodyPr/>
        <a:lstStyle/>
        <a:p>
          <a:endParaRPr lang="pt-PT"/>
        </a:p>
      </dgm:t>
    </dgm:pt>
    <dgm:pt modelId="{2523DDD6-974B-4D49-86D3-01B5FB4F4EFB}" type="sibTrans" cxnId="{D928EACA-1BE5-46D3-816D-E15941D5D675}">
      <dgm:prSet/>
      <dgm:spPr/>
      <dgm:t>
        <a:bodyPr/>
        <a:lstStyle/>
        <a:p>
          <a:endParaRPr lang="pt-PT"/>
        </a:p>
      </dgm:t>
    </dgm:pt>
    <dgm:pt modelId="{17E4BA11-76D8-4547-8A7C-4CA58D0DB03D}">
      <dgm:prSet/>
      <dgm:spPr>
        <a:xfrm>
          <a:off x="0" y="3366075"/>
          <a:ext cx="8335963" cy="643500"/>
        </a:xfrm>
      </dgm:spPr>
      <dgm:t>
        <a:bodyPr/>
        <a:lstStyle/>
        <a:p>
          <a:pPr rtl="0"/>
          <a:r>
            <a:rPr lang="en-US" dirty="0" err="1"/>
            <a:t>sys.dm_exec_requests</a:t>
          </a:r>
          <a:endParaRPr lang="en-US" dirty="0"/>
        </a:p>
      </dgm:t>
    </dgm:pt>
    <dgm:pt modelId="{14EE2F79-97D4-4807-97DF-D72DDCBD9834}" type="parTrans" cxnId="{C6C43BA1-04CB-4911-8C01-5745543B21E6}">
      <dgm:prSet/>
      <dgm:spPr/>
      <dgm:t>
        <a:bodyPr/>
        <a:lstStyle/>
        <a:p>
          <a:endParaRPr lang="pt-PT"/>
        </a:p>
      </dgm:t>
    </dgm:pt>
    <dgm:pt modelId="{F6EF99D1-E947-42B8-8FF8-68A2A390A7DA}" type="sibTrans" cxnId="{C6C43BA1-04CB-4911-8C01-5745543B21E6}">
      <dgm:prSet/>
      <dgm:spPr/>
      <dgm:t>
        <a:bodyPr/>
        <a:lstStyle/>
        <a:p>
          <a:endParaRPr lang="pt-PT"/>
        </a:p>
      </dgm:t>
    </dgm:pt>
    <dgm:pt modelId="{942A3FF6-3A1B-4650-895C-071B947EF8C6}">
      <dgm:prSet/>
      <dgm:spPr>
        <a:xfrm>
          <a:off x="0" y="4009575"/>
          <a:ext cx="8335963" cy="1060875"/>
        </a:xfrm>
      </dgm:spPr>
      <dgm:t>
        <a:bodyPr/>
        <a:lstStyle/>
        <a:p>
          <a:pPr rtl="0"/>
          <a:r>
            <a:rPr lang="en-US" dirty="0"/>
            <a:t>Returns information about each request that is in-flight.</a:t>
          </a:r>
        </a:p>
      </dgm:t>
    </dgm:pt>
    <dgm:pt modelId="{095BDA70-2815-4271-ACFB-C0875FF557A6}" type="parTrans" cxnId="{93148D54-DB23-4C89-B537-EB8B062A4917}">
      <dgm:prSet/>
      <dgm:spPr/>
      <dgm:t>
        <a:bodyPr/>
        <a:lstStyle/>
        <a:p>
          <a:endParaRPr lang="pt-PT"/>
        </a:p>
      </dgm:t>
    </dgm:pt>
    <dgm:pt modelId="{23886A03-44F4-4306-9242-88D11191ACE2}" type="sibTrans" cxnId="{93148D54-DB23-4C89-B537-EB8B062A4917}">
      <dgm:prSet/>
      <dgm:spPr/>
      <dgm:t>
        <a:bodyPr/>
        <a:lstStyle/>
        <a:p>
          <a:endParaRPr lang="pt-PT"/>
        </a:p>
      </dgm:t>
    </dgm:pt>
    <dgm:pt modelId="{123F71FC-B355-42BD-B969-9F3EFB6F2BBA}">
      <dgm:prSet/>
      <dgm:spPr>
        <a:xfrm>
          <a:off x="0" y="4009575"/>
          <a:ext cx="8335963" cy="1060875"/>
        </a:xfrm>
      </dgm:spPr>
      <dgm:t>
        <a:bodyPr/>
        <a:lstStyle/>
        <a:p>
          <a:pPr rtl="0"/>
          <a:r>
            <a:rPr lang="en-US" dirty="0"/>
            <a:t>Includes session owning the request and status of the request, which will reflect the status of one or more tasks assigned to the request.</a:t>
          </a:r>
        </a:p>
      </dgm:t>
    </dgm:pt>
    <dgm:pt modelId="{B258E78A-3BF2-4E4E-81C1-008F338747C8}" type="parTrans" cxnId="{74235EC6-161A-465B-B607-6A9762227703}">
      <dgm:prSet/>
      <dgm:spPr/>
      <dgm:t>
        <a:bodyPr/>
        <a:lstStyle/>
        <a:p>
          <a:endParaRPr lang="pt-PT"/>
        </a:p>
      </dgm:t>
    </dgm:pt>
    <dgm:pt modelId="{6CFA2A05-50F1-4CE0-AD34-44875D874BA5}" type="sibTrans" cxnId="{74235EC6-161A-465B-B607-6A9762227703}">
      <dgm:prSet/>
      <dgm:spPr/>
      <dgm:t>
        <a:bodyPr/>
        <a:lstStyle/>
        <a:p>
          <a:endParaRPr lang="pt-PT"/>
        </a:p>
      </dgm:t>
    </dgm:pt>
    <dgm:pt modelId="{19933C88-1E71-4DC9-BD8B-5302FE6957D6}" type="pres">
      <dgm:prSet presAssocID="{A0924796-BDC3-405D-8635-AE34D000321A}" presName="linear" presStyleCnt="0">
        <dgm:presLayoutVars>
          <dgm:dir/>
          <dgm:animLvl val="lvl"/>
          <dgm:resizeHandles val="exact"/>
        </dgm:presLayoutVars>
      </dgm:prSet>
      <dgm:spPr/>
    </dgm:pt>
    <dgm:pt modelId="{ACBC4954-B2E8-4CC5-969C-34FC3CECA582}" type="pres">
      <dgm:prSet presAssocID="{57EBDB80-F253-46BF-9E5A-2D1499E1E15A}" presName="parentLin" presStyleCnt="0"/>
      <dgm:spPr/>
    </dgm:pt>
    <dgm:pt modelId="{54C2CE82-B91E-4EC7-9449-4AE81A3E8996}" type="pres">
      <dgm:prSet presAssocID="{57EBDB80-F253-46BF-9E5A-2D1499E1E15A}" presName="parentLeftMargin" presStyleLbl="node1" presStyleIdx="0" presStyleCnt="3"/>
      <dgm:spPr/>
    </dgm:pt>
    <dgm:pt modelId="{C07A040C-EF9E-45F2-9214-97707786A867}" type="pres">
      <dgm:prSet presAssocID="{57EBDB80-F253-46BF-9E5A-2D1499E1E15A}" presName="parentText" presStyleLbl="node1" presStyleIdx="0" presStyleCnt="3">
        <dgm:presLayoutVars>
          <dgm:chMax val="0"/>
          <dgm:bulletEnabled val="1"/>
        </dgm:presLayoutVars>
      </dgm:prSet>
      <dgm:spPr/>
    </dgm:pt>
    <dgm:pt modelId="{195D2AE1-841F-4288-96DE-D9D57DE6DDB0}" type="pres">
      <dgm:prSet presAssocID="{57EBDB80-F253-46BF-9E5A-2D1499E1E15A}" presName="negativeSpace" presStyleCnt="0"/>
      <dgm:spPr/>
    </dgm:pt>
    <dgm:pt modelId="{E29B919B-8852-4200-8241-428B1FA32C75}" type="pres">
      <dgm:prSet presAssocID="{57EBDB80-F253-46BF-9E5A-2D1499E1E15A}" presName="childText" presStyleLbl="conFgAcc1" presStyleIdx="0" presStyleCnt="3">
        <dgm:presLayoutVars>
          <dgm:bulletEnabled val="1"/>
        </dgm:presLayoutVars>
      </dgm:prSet>
      <dgm:spPr/>
    </dgm:pt>
    <dgm:pt modelId="{4E0E3D7A-D142-4476-8CF5-E9D89D1BD3A2}" type="pres">
      <dgm:prSet presAssocID="{3C7700C1-E7C7-4BB1-B2A2-8028AF369FE3}" presName="spaceBetweenRectangles" presStyleCnt="0"/>
      <dgm:spPr/>
    </dgm:pt>
    <dgm:pt modelId="{6ACF6DA3-3984-41F5-B0C3-C1727FF4C8AC}" type="pres">
      <dgm:prSet presAssocID="{63C1DFCD-C2BE-40CC-9A67-5EBC39657F1E}" presName="parentLin" presStyleCnt="0"/>
      <dgm:spPr/>
    </dgm:pt>
    <dgm:pt modelId="{02AD1B8A-6FAE-4B03-8DAF-95A90786F9A0}" type="pres">
      <dgm:prSet presAssocID="{63C1DFCD-C2BE-40CC-9A67-5EBC39657F1E}" presName="parentLeftMargin" presStyleLbl="node1" presStyleIdx="0" presStyleCnt="3"/>
      <dgm:spPr/>
    </dgm:pt>
    <dgm:pt modelId="{83AE0A70-2509-45B2-A632-605C7EC79E8F}" type="pres">
      <dgm:prSet presAssocID="{63C1DFCD-C2BE-40CC-9A67-5EBC39657F1E}" presName="parentText" presStyleLbl="node1" presStyleIdx="1" presStyleCnt="3">
        <dgm:presLayoutVars>
          <dgm:chMax val="0"/>
          <dgm:bulletEnabled val="1"/>
        </dgm:presLayoutVars>
      </dgm:prSet>
      <dgm:spPr/>
    </dgm:pt>
    <dgm:pt modelId="{E251AF9D-8826-43DB-B446-B21489D31A54}" type="pres">
      <dgm:prSet presAssocID="{63C1DFCD-C2BE-40CC-9A67-5EBC39657F1E}" presName="negativeSpace" presStyleCnt="0"/>
      <dgm:spPr/>
    </dgm:pt>
    <dgm:pt modelId="{F5EC977E-C613-4B96-A43C-60E20366B299}" type="pres">
      <dgm:prSet presAssocID="{63C1DFCD-C2BE-40CC-9A67-5EBC39657F1E}" presName="childText" presStyleLbl="conFgAcc1" presStyleIdx="1" presStyleCnt="3">
        <dgm:presLayoutVars>
          <dgm:bulletEnabled val="1"/>
        </dgm:presLayoutVars>
      </dgm:prSet>
      <dgm:spPr/>
    </dgm:pt>
    <dgm:pt modelId="{1EF2708A-B615-4700-9D41-C2F43A922A11}" type="pres">
      <dgm:prSet presAssocID="{D12D8CD5-7057-4FFF-8934-C6382F9DB915}" presName="spaceBetweenRectangles" presStyleCnt="0"/>
      <dgm:spPr/>
    </dgm:pt>
    <dgm:pt modelId="{25D28F1E-FB1F-4F1C-B729-24FDC1C88269}" type="pres">
      <dgm:prSet presAssocID="{17E4BA11-76D8-4547-8A7C-4CA58D0DB03D}" presName="parentLin" presStyleCnt="0"/>
      <dgm:spPr/>
    </dgm:pt>
    <dgm:pt modelId="{C3B84640-F38D-45A0-8623-B6D2B8250F4F}" type="pres">
      <dgm:prSet presAssocID="{17E4BA11-76D8-4547-8A7C-4CA58D0DB03D}" presName="parentLeftMargin" presStyleLbl="node1" presStyleIdx="1" presStyleCnt="3"/>
      <dgm:spPr/>
    </dgm:pt>
    <dgm:pt modelId="{13D6AD74-28B3-40F7-860A-D3D90B551BB7}" type="pres">
      <dgm:prSet presAssocID="{17E4BA11-76D8-4547-8A7C-4CA58D0DB03D}" presName="parentText" presStyleLbl="node1" presStyleIdx="2" presStyleCnt="3">
        <dgm:presLayoutVars>
          <dgm:chMax val="0"/>
          <dgm:bulletEnabled val="1"/>
        </dgm:presLayoutVars>
      </dgm:prSet>
      <dgm:spPr/>
    </dgm:pt>
    <dgm:pt modelId="{31D0AF1A-45FC-4414-A90F-17973BCD7F9D}" type="pres">
      <dgm:prSet presAssocID="{17E4BA11-76D8-4547-8A7C-4CA58D0DB03D}" presName="negativeSpace" presStyleCnt="0"/>
      <dgm:spPr/>
    </dgm:pt>
    <dgm:pt modelId="{64039597-9573-42C8-9A8B-A77492C84F44}" type="pres">
      <dgm:prSet presAssocID="{17E4BA11-76D8-4547-8A7C-4CA58D0DB03D}" presName="childText" presStyleLbl="conFgAcc1" presStyleIdx="2" presStyleCnt="3">
        <dgm:presLayoutVars>
          <dgm:bulletEnabled val="1"/>
        </dgm:presLayoutVars>
      </dgm:prSet>
      <dgm:spPr/>
    </dgm:pt>
  </dgm:ptLst>
  <dgm:cxnLst>
    <dgm:cxn modelId="{8193FB07-2FF7-420E-93B2-8A5570561465}" type="presOf" srcId="{63C1DFCD-C2BE-40CC-9A67-5EBC39657F1E}" destId="{83AE0A70-2509-45B2-A632-605C7EC79E8F}" srcOrd="1" destOrd="0" presId="urn:microsoft.com/office/officeart/2005/8/layout/list1"/>
    <dgm:cxn modelId="{6EA9D80B-9327-42BD-8868-1887552E47CF}" type="presOf" srcId="{123F71FC-B355-42BD-B969-9F3EFB6F2BBA}" destId="{64039597-9573-42C8-9A8B-A77492C84F44}" srcOrd="0" destOrd="1" presId="urn:microsoft.com/office/officeart/2005/8/layout/list1"/>
    <dgm:cxn modelId="{005C4211-6BF3-4029-95E0-B8BE1B718473}" type="presOf" srcId="{B80D35A9-A3A0-4029-ADF0-AAC4EC82AC03}" destId="{E29B919B-8852-4200-8241-428B1FA32C75}" srcOrd="0" destOrd="1" presId="urn:microsoft.com/office/officeart/2005/8/layout/list1"/>
    <dgm:cxn modelId="{D0EF0525-CEC2-4362-A01D-B6E57527D99C}" type="presOf" srcId="{57EBDB80-F253-46BF-9E5A-2D1499E1E15A}" destId="{54C2CE82-B91E-4EC7-9449-4AE81A3E8996}" srcOrd="0" destOrd="0" presId="urn:microsoft.com/office/officeart/2005/8/layout/list1"/>
    <dgm:cxn modelId="{35DF8325-A25A-4C39-ADC6-53427D673CCD}" srcId="{63C1DFCD-C2BE-40CC-9A67-5EBC39657F1E}" destId="{9EDF0C33-87FD-4C95-BE09-E3673D0F4960}" srcOrd="0" destOrd="0" parTransId="{6FB6A413-4654-4D26-BE88-EF2191EC0B59}" sibTransId="{D3098B60-4B9E-4895-A0CA-EFCD3450C505}"/>
    <dgm:cxn modelId="{8C5EFD2C-0A3D-45AA-BFF9-8499B8405326}" srcId="{A0924796-BDC3-405D-8635-AE34D000321A}" destId="{63C1DFCD-C2BE-40CC-9A67-5EBC39657F1E}" srcOrd="1" destOrd="0" parTransId="{7C920847-D1C2-43DD-AD58-1452ADE2643F}" sibTransId="{D12D8CD5-7057-4FFF-8934-C6382F9DB915}"/>
    <dgm:cxn modelId="{30C5453A-56E3-4026-8B62-7CF304E1B676}" type="presOf" srcId="{57EBDB80-F253-46BF-9E5A-2D1499E1E15A}" destId="{C07A040C-EF9E-45F2-9214-97707786A867}" srcOrd="1" destOrd="0" presId="urn:microsoft.com/office/officeart/2005/8/layout/list1"/>
    <dgm:cxn modelId="{E6854F46-DFF4-45F6-9004-30CC7CAF3C97}" type="presOf" srcId="{9F9BB641-2FAB-4448-ADFE-0344A891994E}" destId="{E29B919B-8852-4200-8241-428B1FA32C75}" srcOrd="0" destOrd="0" presId="urn:microsoft.com/office/officeart/2005/8/layout/list1"/>
    <dgm:cxn modelId="{D0B2D949-80A6-40A8-9EAF-913380AB9DBE}" type="presOf" srcId="{942A3FF6-3A1B-4650-895C-071B947EF8C6}" destId="{64039597-9573-42C8-9A8B-A77492C84F44}" srcOrd="0" destOrd="0" presId="urn:microsoft.com/office/officeart/2005/8/layout/list1"/>
    <dgm:cxn modelId="{9211424A-D2A3-4A1F-8FFA-F5DA87CD3438}" type="presOf" srcId="{A0924796-BDC3-405D-8635-AE34D000321A}" destId="{19933C88-1E71-4DC9-BD8B-5302FE6957D6}" srcOrd="0" destOrd="0" presId="urn:microsoft.com/office/officeart/2005/8/layout/list1"/>
    <dgm:cxn modelId="{93148D54-DB23-4C89-B537-EB8B062A4917}" srcId="{17E4BA11-76D8-4547-8A7C-4CA58D0DB03D}" destId="{942A3FF6-3A1B-4650-895C-071B947EF8C6}" srcOrd="0" destOrd="0" parTransId="{095BDA70-2815-4271-ACFB-C0875FF557A6}" sibTransId="{23886A03-44F4-4306-9242-88D11191ACE2}"/>
    <dgm:cxn modelId="{83A26B58-DA1B-4DBB-AF79-2FB2853E7287}" type="presOf" srcId="{63C1DFCD-C2BE-40CC-9A67-5EBC39657F1E}" destId="{02AD1B8A-6FAE-4B03-8DAF-95A90786F9A0}" srcOrd="0" destOrd="0" presId="urn:microsoft.com/office/officeart/2005/8/layout/list1"/>
    <dgm:cxn modelId="{A5E7F190-2776-40F0-8EA0-1E7F87B96C97}" srcId="{57EBDB80-F253-46BF-9E5A-2D1499E1E15A}" destId="{9F9BB641-2FAB-4448-ADFE-0344A891994E}" srcOrd="0" destOrd="0" parTransId="{575070E5-9C94-4B66-8407-4F6704436A63}" sibTransId="{07E36453-8A29-4AA7-8E47-DA7D9372F853}"/>
    <dgm:cxn modelId="{C6C43BA1-04CB-4911-8C01-5745543B21E6}" srcId="{A0924796-BDC3-405D-8635-AE34D000321A}" destId="{17E4BA11-76D8-4547-8A7C-4CA58D0DB03D}" srcOrd="2" destOrd="0" parTransId="{14EE2F79-97D4-4807-97DF-D72DDCBD9834}" sibTransId="{F6EF99D1-E947-42B8-8FF8-68A2A390A7DA}"/>
    <dgm:cxn modelId="{74235EC6-161A-465B-B607-6A9762227703}" srcId="{17E4BA11-76D8-4547-8A7C-4CA58D0DB03D}" destId="{123F71FC-B355-42BD-B969-9F3EFB6F2BBA}" srcOrd="1" destOrd="0" parTransId="{B258E78A-3BF2-4E4E-81C1-008F338747C8}" sibTransId="{6CFA2A05-50F1-4CE0-AD34-44875D874BA5}"/>
    <dgm:cxn modelId="{0EFDB6C9-F8F1-4F5E-AEC5-D3F4DC36DBB2}" type="presOf" srcId="{17E4BA11-76D8-4547-8A7C-4CA58D0DB03D}" destId="{C3B84640-F38D-45A0-8623-B6D2B8250F4F}" srcOrd="0" destOrd="0" presId="urn:microsoft.com/office/officeart/2005/8/layout/list1"/>
    <dgm:cxn modelId="{D928EACA-1BE5-46D3-816D-E15941D5D675}" srcId="{57EBDB80-F253-46BF-9E5A-2D1499E1E15A}" destId="{B80D35A9-A3A0-4029-ADF0-AAC4EC82AC03}" srcOrd="1" destOrd="0" parTransId="{0235F7DF-71A5-417E-9C03-F856B0DD1EC6}" sibTransId="{2523DDD6-974B-4D49-86D3-01B5FB4F4EFB}"/>
    <dgm:cxn modelId="{5C706EF3-E870-41FA-9FCE-F71A0FF9A730}" type="presOf" srcId="{9EDF0C33-87FD-4C95-BE09-E3673D0F4960}" destId="{F5EC977E-C613-4B96-A43C-60E20366B299}" srcOrd="0" destOrd="0" presId="urn:microsoft.com/office/officeart/2005/8/layout/list1"/>
    <dgm:cxn modelId="{75F4DFF6-3474-4E99-9CA6-FBB41C90AD5C}" srcId="{A0924796-BDC3-405D-8635-AE34D000321A}" destId="{57EBDB80-F253-46BF-9E5A-2D1499E1E15A}" srcOrd="0" destOrd="0" parTransId="{8C7F44D3-9D51-4B9B-B6DB-46F0AAC7FC3C}" sibTransId="{3C7700C1-E7C7-4BB1-B2A2-8028AF369FE3}"/>
    <dgm:cxn modelId="{731494FF-12D2-4877-92C6-981307C6DF32}" type="presOf" srcId="{17E4BA11-76D8-4547-8A7C-4CA58D0DB03D}" destId="{13D6AD74-28B3-40F7-860A-D3D90B551BB7}" srcOrd="1" destOrd="0" presId="urn:microsoft.com/office/officeart/2005/8/layout/list1"/>
    <dgm:cxn modelId="{FFFDE9CF-F993-49C5-8546-B267A0D2E3CC}" type="presParOf" srcId="{19933C88-1E71-4DC9-BD8B-5302FE6957D6}" destId="{ACBC4954-B2E8-4CC5-969C-34FC3CECA582}" srcOrd="0" destOrd="0" presId="urn:microsoft.com/office/officeart/2005/8/layout/list1"/>
    <dgm:cxn modelId="{EBEC4C88-546F-4E2B-A26C-766877F60EE8}" type="presParOf" srcId="{ACBC4954-B2E8-4CC5-969C-34FC3CECA582}" destId="{54C2CE82-B91E-4EC7-9449-4AE81A3E8996}" srcOrd="0" destOrd="0" presId="urn:microsoft.com/office/officeart/2005/8/layout/list1"/>
    <dgm:cxn modelId="{48C95517-DD34-4DD2-9F84-510BB18A113E}" type="presParOf" srcId="{ACBC4954-B2E8-4CC5-969C-34FC3CECA582}" destId="{C07A040C-EF9E-45F2-9214-97707786A867}" srcOrd="1" destOrd="0" presId="urn:microsoft.com/office/officeart/2005/8/layout/list1"/>
    <dgm:cxn modelId="{D4205CAE-E972-4F22-AE56-5A20CF312D72}" type="presParOf" srcId="{19933C88-1E71-4DC9-BD8B-5302FE6957D6}" destId="{195D2AE1-841F-4288-96DE-D9D57DE6DDB0}" srcOrd="1" destOrd="0" presId="urn:microsoft.com/office/officeart/2005/8/layout/list1"/>
    <dgm:cxn modelId="{44EB41D8-010F-4B17-95AF-278707A92DAB}" type="presParOf" srcId="{19933C88-1E71-4DC9-BD8B-5302FE6957D6}" destId="{E29B919B-8852-4200-8241-428B1FA32C75}" srcOrd="2" destOrd="0" presId="urn:microsoft.com/office/officeart/2005/8/layout/list1"/>
    <dgm:cxn modelId="{F39DE50A-5EB6-4A16-917D-D294E7CB79C9}" type="presParOf" srcId="{19933C88-1E71-4DC9-BD8B-5302FE6957D6}" destId="{4E0E3D7A-D142-4476-8CF5-E9D89D1BD3A2}" srcOrd="3" destOrd="0" presId="urn:microsoft.com/office/officeart/2005/8/layout/list1"/>
    <dgm:cxn modelId="{9741235F-0047-4A35-BAE6-CBF68EDA4BB8}" type="presParOf" srcId="{19933C88-1E71-4DC9-BD8B-5302FE6957D6}" destId="{6ACF6DA3-3984-41F5-B0C3-C1727FF4C8AC}" srcOrd="4" destOrd="0" presId="urn:microsoft.com/office/officeart/2005/8/layout/list1"/>
    <dgm:cxn modelId="{340A7B64-80B8-4978-AAAB-8F4C2680609D}" type="presParOf" srcId="{6ACF6DA3-3984-41F5-B0C3-C1727FF4C8AC}" destId="{02AD1B8A-6FAE-4B03-8DAF-95A90786F9A0}" srcOrd="0" destOrd="0" presId="urn:microsoft.com/office/officeart/2005/8/layout/list1"/>
    <dgm:cxn modelId="{500BD6AE-1F74-4777-87DA-88E3264DF83D}" type="presParOf" srcId="{6ACF6DA3-3984-41F5-B0C3-C1727FF4C8AC}" destId="{83AE0A70-2509-45B2-A632-605C7EC79E8F}" srcOrd="1" destOrd="0" presId="urn:microsoft.com/office/officeart/2005/8/layout/list1"/>
    <dgm:cxn modelId="{FF4ADCA6-D788-428E-AD94-6F5DD17D63E3}" type="presParOf" srcId="{19933C88-1E71-4DC9-BD8B-5302FE6957D6}" destId="{E251AF9D-8826-43DB-B446-B21489D31A54}" srcOrd="5" destOrd="0" presId="urn:microsoft.com/office/officeart/2005/8/layout/list1"/>
    <dgm:cxn modelId="{6762693C-6236-44B9-BABD-C42B9751937D}" type="presParOf" srcId="{19933C88-1E71-4DC9-BD8B-5302FE6957D6}" destId="{F5EC977E-C613-4B96-A43C-60E20366B299}" srcOrd="6" destOrd="0" presId="urn:microsoft.com/office/officeart/2005/8/layout/list1"/>
    <dgm:cxn modelId="{56ACFC74-4872-433F-A412-08CABEC5E3E0}" type="presParOf" srcId="{19933C88-1E71-4DC9-BD8B-5302FE6957D6}" destId="{1EF2708A-B615-4700-9D41-C2F43A922A11}" srcOrd="7" destOrd="0" presId="urn:microsoft.com/office/officeart/2005/8/layout/list1"/>
    <dgm:cxn modelId="{67EBCD3E-893F-4E67-A062-E317E3C84BD7}" type="presParOf" srcId="{19933C88-1E71-4DC9-BD8B-5302FE6957D6}" destId="{25D28F1E-FB1F-4F1C-B729-24FDC1C88269}" srcOrd="8" destOrd="0" presId="urn:microsoft.com/office/officeart/2005/8/layout/list1"/>
    <dgm:cxn modelId="{DA07E68A-DF44-4EEC-AB6C-82B4AA8CD0EA}" type="presParOf" srcId="{25D28F1E-FB1F-4F1C-B729-24FDC1C88269}" destId="{C3B84640-F38D-45A0-8623-B6D2B8250F4F}" srcOrd="0" destOrd="0" presId="urn:microsoft.com/office/officeart/2005/8/layout/list1"/>
    <dgm:cxn modelId="{80F5BA94-2A3E-409B-B27C-CE2C5D2D34CE}" type="presParOf" srcId="{25D28F1E-FB1F-4F1C-B729-24FDC1C88269}" destId="{13D6AD74-28B3-40F7-860A-D3D90B551BB7}" srcOrd="1" destOrd="0" presId="urn:microsoft.com/office/officeart/2005/8/layout/list1"/>
    <dgm:cxn modelId="{61A0E98E-19B9-46CC-B1D2-CB7C4B907697}" type="presParOf" srcId="{19933C88-1E71-4DC9-BD8B-5302FE6957D6}" destId="{31D0AF1A-45FC-4414-A90F-17973BCD7F9D}" srcOrd="9" destOrd="0" presId="urn:microsoft.com/office/officeart/2005/8/layout/list1"/>
    <dgm:cxn modelId="{C1F9E4A4-6763-4939-AA03-BE9935DE0102}" type="presParOf" srcId="{19933C88-1E71-4DC9-BD8B-5302FE6957D6}" destId="{64039597-9573-42C8-9A8B-A77492C84F44}" srcOrd="10"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11BF663-8A3B-4DAB-8D19-9A62BC754AC0}" type="doc">
      <dgm:prSet loTypeId="urn:microsoft.com/office/officeart/2008/layout/LinedList" loCatId="list" qsTypeId="urn:microsoft.com/office/officeart/2005/8/quickstyle/simple3" qsCatId="simple" csTypeId="urn:microsoft.com/office/officeart/2005/8/colors/accent5_2" csCatId="accent5" phldr="1"/>
      <dgm:spPr/>
      <dgm:t>
        <a:bodyPr/>
        <a:lstStyle/>
        <a:p>
          <a:endParaRPr lang="en-US"/>
        </a:p>
      </dgm:t>
    </dgm:pt>
    <dgm:pt modelId="{DB064213-8B34-41E7-A293-D37CF61E82C7}">
      <dgm:prSet custT="1"/>
      <dgm:spPr/>
      <dgm:t>
        <a:bodyPr/>
        <a:lstStyle/>
        <a:p>
          <a:pPr algn="ctr"/>
          <a:r>
            <a:rPr lang="en-US" sz="3600" dirty="0"/>
            <a:t>Aaron Bertrand – Top Wait Types </a:t>
          </a:r>
          <a:r>
            <a:rPr lang="en-US" sz="3600" dirty="0">
              <a:hlinkClick xmlns:r="http://schemas.openxmlformats.org/officeDocument/2006/relationships" r:id="rId1"/>
            </a:rPr>
            <a:t>https://sqlperformance.com/2018/10/sql-performance/top-wait-stats</a:t>
          </a:r>
          <a:endParaRPr lang="en-US" sz="3600" dirty="0"/>
        </a:p>
      </dgm:t>
    </dgm:pt>
    <dgm:pt modelId="{67BECFCD-0460-4DC2-97FE-0CB2D094CF98}" type="parTrans" cxnId="{599F6387-49A1-4337-B18D-DD72D8B7A0FD}">
      <dgm:prSet/>
      <dgm:spPr/>
      <dgm:t>
        <a:bodyPr/>
        <a:lstStyle/>
        <a:p>
          <a:pPr algn="ctr"/>
          <a:endParaRPr lang="en-US" sz="3600"/>
        </a:p>
      </dgm:t>
    </dgm:pt>
    <dgm:pt modelId="{F4D258C8-AFC4-4C02-9B5D-532F606EF765}" type="sibTrans" cxnId="{599F6387-49A1-4337-B18D-DD72D8B7A0FD}">
      <dgm:prSet/>
      <dgm:spPr/>
      <dgm:t>
        <a:bodyPr/>
        <a:lstStyle/>
        <a:p>
          <a:pPr algn="ctr"/>
          <a:endParaRPr lang="en-US" sz="3600"/>
        </a:p>
      </dgm:t>
    </dgm:pt>
    <dgm:pt modelId="{A7C95ECE-EDD8-46AA-AB41-C077A9F7D3F8}">
      <dgm:prSet custT="1"/>
      <dgm:spPr/>
      <dgm:t>
        <a:bodyPr/>
        <a:lstStyle/>
        <a:p>
          <a:pPr algn="ctr"/>
          <a:r>
            <a:rPr lang="en-US" sz="3600" dirty="0"/>
            <a:t>Paul Randal – SQL Skills Wait Types Library </a:t>
          </a:r>
          <a:r>
            <a:rPr lang="en-US" sz="3600" dirty="0">
              <a:hlinkClick xmlns:r="http://schemas.openxmlformats.org/officeDocument/2006/relationships" r:id="rId2"/>
            </a:rPr>
            <a:t>https://www.sqlskills.com/help/waits/</a:t>
          </a:r>
          <a:endParaRPr lang="en-US" sz="3600" dirty="0"/>
        </a:p>
      </dgm:t>
    </dgm:pt>
    <dgm:pt modelId="{5168DE14-FA5F-4285-90CA-D9C474296021}" type="parTrans" cxnId="{817A77E8-568E-4D90-9B9C-7F0F22A7AAD6}">
      <dgm:prSet/>
      <dgm:spPr/>
      <dgm:t>
        <a:bodyPr/>
        <a:lstStyle/>
        <a:p>
          <a:pPr algn="ctr"/>
          <a:endParaRPr lang="en-US" sz="3600"/>
        </a:p>
      </dgm:t>
    </dgm:pt>
    <dgm:pt modelId="{696D33B4-7C1B-4993-B9BC-9FC422B912A6}" type="sibTrans" cxnId="{817A77E8-568E-4D90-9B9C-7F0F22A7AAD6}">
      <dgm:prSet/>
      <dgm:spPr/>
      <dgm:t>
        <a:bodyPr/>
        <a:lstStyle/>
        <a:p>
          <a:pPr algn="ctr"/>
          <a:endParaRPr lang="en-US" sz="3600"/>
        </a:p>
      </dgm:t>
    </dgm:pt>
    <dgm:pt modelId="{63425A77-1708-421B-B0D4-6417A85C20ED}" type="pres">
      <dgm:prSet presAssocID="{111BF663-8A3B-4DAB-8D19-9A62BC754AC0}" presName="vert0" presStyleCnt="0">
        <dgm:presLayoutVars>
          <dgm:dir/>
          <dgm:animOne val="branch"/>
          <dgm:animLvl val="lvl"/>
        </dgm:presLayoutVars>
      </dgm:prSet>
      <dgm:spPr/>
    </dgm:pt>
    <dgm:pt modelId="{9D87F789-DFE6-44F4-8E5E-71E4A744CB52}" type="pres">
      <dgm:prSet presAssocID="{DB064213-8B34-41E7-A293-D37CF61E82C7}" presName="thickLine" presStyleLbl="alignNode1" presStyleIdx="0" presStyleCnt="2" custLinFactNeighborX="721" custLinFactNeighborY="-9346"/>
      <dgm:spPr/>
    </dgm:pt>
    <dgm:pt modelId="{80B9E0DA-D2D6-4CF6-BBB7-623056D7C219}" type="pres">
      <dgm:prSet presAssocID="{DB064213-8B34-41E7-A293-D37CF61E82C7}" presName="horz1" presStyleCnt="0"/>
      <dgm:spPr/>
    </dgm:pt>
    <dgm:pt modelId="{ED11F7B8-06E0-4993-AB44-28A6764FC2AF}" type="pres">
      <dgm:prSet presAssocID="{DB064213-8B34-41E7-A293-D37CF61E82C7}" presName="tx1" presStyleLbl="revTx" presStyleIdx="0" presStyleCnt="2"/>
      <dgm:spPr/>
    </dgm:pt>
    <dgm:pt modelId="{2FA89616-ABCC-4EC7-B0C3-C9D6C6E2C3B2}" type="pres">
      <dgm:prSet presAssocID="{DB064213-8B34-41E7-A293-D37CF61E82C7}" presName="vert1" presStyleCnt="0"/>
      <dgm:spPr/>
    </dgm:pt>
    <dgm:pt modelId="{04FA338E-0DB5-4024-B1C6-4F4E0889B3A0}" type="pres">
      <dgm:prSet presAssocID="{A7C95ECE-EDD8-46AA-AB41-C077A9F7D3F8}" presName="thickLine" presStyleLbl="alignNode1" presStyleIdx="1" presStyleCnt="2" custLinFactNeighborX="848" custLinFactNeighborY="-18575"/>
      <dgm:spPr>
        <a:ln w="38100">
          <a:solidFill>
            <a:schemeClr val="accent4">
              <a:lumMod val="75000"/>
            </a:schemeClr>
          </a:solidFill>
        </a:ln>
      </dgm:spPr>
    </dgm:pt>
    <dgm:pt modelId="{64487CB4-F8A5-4446-89F5-4D0FB64CDC59}" type="pres">
      <dgm:prSet presAssocID="{A7C95ECE-EDD8-46AA-AB41-C077A9F7D3F8}" presName="horz1" presStyleCnt="0"/>
      <dgm:spPr/>
    </dgm:pt>
    <dgm:pt modelId="{13251EE6-82F1-40FA-8F1D-885623A2FD01}" type="pres">
      <dgm:prSet presAssocID="{A7C95ECE-EDD8-46AA-AB41-C077A9F7D3F8}" presName="tx1" presStyleLbl="revTx" presStyleIdx="1" presStyleCnt="2" custScaleY="69094"/>
      <dgm:spPr/>
    </dgm:pt>
    <dgm:pt modelId="{E45A66EF-A430-47D3-8961-E8D72EF9EA0D}" type="pres">
      <dgm:prSet presAssocID="{A7C95ECE-EDD8-46AA-AB41-C077A9F7D3F8}" presName="vert1" presStyleCnt="0"/>
      <dgm:spPr/>
    </dgm:pt>
  </dgm:ptLst>
  <dgm:cxnLst>
    <dgm:cxn modelId="{599F6387-49A1-4337-B18D-DD72D8B7A0FD}" srcId="{111BF663-8A3B-4DAB-8D19-9A62BC754AC0}" destId="{DB064213-8B34-41E7-A293-D37CF61E82C7}" srcOrd="0" destOrd="0" parTransId="{67BECFCD-0460-4DC2-97FE-0CB2D094CF98}" sibTransId="{F4D258C8-AFC4-4C02-9B5D-532F606EF765}"/>
    <dgm:cxn modelId="{04EE87B9-13B3-4828-BC79-914E308B55CD}" type="presOf" srcId="{111BF663-8A3B-4DAB-8D19-9A62BC754AC0}" destId="{63425A77-1708-421B-B0D4-6417A85C20ED}" srcOrd="0" destOrd="0" presId="urn:microsoft.com/office/officeart/2008/layout/LinedList"/>
    <dgm:cxn modelId="{FE695DBA-BE1A-4DE4-B5F6-35867574156C}" type="presOf" srcId="{A7C95ECE-EDD8-46AA-AB41-C077A9F7D3F8}" destId="{13251EE6-82F1-40FA-8F1D-885623A2FD01}" srcOrd="0" destOrd="0" presId="urn:microsoft.com/office/officeart/2008/layout/LinedList"/>
    <dgm:cxn modelId="{FEF34EC2-C2C6-4F0A-B7DD-21EE08AF66AC}" type="presOf" srcId="{DB064213-8B34-41E7-A293-D37CF61E82C7}" destId="{ED11F7B8-06E0-4993-AB44-28A6764FC2AF}" srcOrd="0" destOrd="0" presId="urn:microsoft.com/office/officeart/2008/layout/LinedList"/>
    <dgm:cxn modelId="{817A77E8-568E-4D90-9B9C-7F0F22A7AAD6}" srcId="{111BF663-8A3B-4DAB-8D19-9A62BC754AC0}" destId="{A7C95ECE-EDD8-46AA-AB41-C077A9F7D3F8}" srcOrd="1" destOrd="0" parTransId="{5168DE14-FA5F-4285-90CA-D9C474296021}" sibTransId="{696D33B4-7C1B-4993-B9BC-9FC422B912A6}"/>
    <dgm:cxn modelId="{DC709FB8-28BF-4910-9C82-3453BDF071BC}" type="presParOf" srcId="{63425A77-1708-421B-B0D4-6417A85C20ED}" destId="{9D87F789-DFE6-44F4-8E5E-71E4A744CB52}" srcOrd="0" destOrd="0" presId="urn:microsoft.com/office/officeart/2008/layout/LinedList"/>
    <dgm:cxn modelId="{08DBCB06-A429-4413-AF91-5FF885EBD3C5}" type="presParOf" srcId="{63425A77-1708-421B-B0D4-6417A85C20ED}" destId="{80B9E0DA-D2D6-4CF6-BBB7-623056D7C219}" srcOrd="1" destOrd="0" presId="urn:microsoft.com/office/officeart/2008/layout/LinedList"/>
    <dgm:cxn modelId="{09C48997-A5CD-4F98-B63F-9DCD47D33ECF}" type="presParOf" srcId="{80B9E0DA-D2D6-4CF6-BBB7-623056D7C219}" destId="{ED11F7B8-06E0-4993-AB44-28A6764FC2AF}" srcOrd="0" destOrd="0" presId="urn:microsoft.com/office/officeart/2008/layout/LinedList"/>
    <dgm:cxn modelId="{D24723DE-CB93-4A12-A469-04CB0E878634}" type="presParOf" srcId="{80B9E0DA-D2D6-4CF6-BBB7-623056D7C219}" destId="{2FA89616-ABCC-4EC7-B0C3-C9D6C6E2C3B2}" srcOrd="1" destOrd="0" presId="urn:microsoft.com/office/officeart/2008/layout/LinedList"/>
    <dgm:cxn modelId="{345B3F7F-2B10-4C69-AD6F-8418BE0D2B7E}" type="presParOf" srcId="{63425A77-1708-421B-B0D4-6417A85C20ED}" destId="{04FA338E-0DB5-4024-B1C6-4F4E0889B3A0}" srcOrd="2" destOrd="0" presId="urn:microsoft.com/office/officeart/2008/layout/LinedList"/>
    <dgm:cxn modelId="{03D31201-1367-4FC5-A10D-54EF8DDA1300}" type="presParOf" srcId="{63425A77-1708-421B-B0D4-6417A85C20ED}" destId="{64487CB4-F8A5-4446-89F5-4D0FB64CDC59}" srcOrd="3" destOrd="0" presId="urn:microsoft.com/office/officeart/2008/layout/LinedList"/>
    <dgm:cxn modelId="{9B138E13-44BD-4889-B128-689D8792121A}" type="presParOf" srcId="{64487CB4-F8A5-4446-89F5-4D0FB64CDC59}" destId="{13251EE6-82F1-40FA-8F1D-885623A2FD01}" srcOrd="0" destOrd="0" presId="urn:microsoft.com/office/officeart/2008/layout/LinedList"/>
    <dgm:cxn modelId="{1BF6D5AF-6353-4345-9610-85C592B5FE07}" type="presParOf" srcId="{64487CB4-F8A5-4446-89F5-4D0FB64CDC59}" destId="{E45A66EF-A430-47D3-8961-E8D72EF9EA0D}" srcOrd="1" destOrd="0" presId="urn:microsoft.com/office/officeart/2008/layout/LinedList"/>
  </dgm:cxnLst>
  <dgm:bg/>
  <dgm:whole>
    <a:ln w="57150">
      <a:solidFill>
        <a:schemeClr val="accent4">
          <a:lumMod val="75000"/>
        </a:schemeClr>
      </a:solidFill>
    </a:ln>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7265FA74-4C76-4AA5-B436-B0DA5FA08A33}"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B2D613BE-44ED-4833-A9C1-1A3BE887CEBE}">
      <dgm:prSet custT="1"/>
      <dgm:spPr/>
      <dgm:t>
        <a:bodyPr/>
        <a:lstStyle/>
        <a:p>
          <a:r>
            <a:rPr lang="en-US" sz="2800" dirty="0">
              <a:latin typeface="Segoe UI" panose="020B0502040204020203" pitchFamily="34" charset="0"/>
            </a:rPr>
            <a:t>Data Files</a:t>
          </a:r>
        </a:p>
      </dgm:t>
    </dgm:pt>
    <dgm:pt modelId="{3965E237-C7E4-4A20-BCD9-6BB907E081F9}" type="parTrans" cxnId="{1289DB03-00B4-4472-922B-68F16F2AB9BC}">
      <dgm:prSet/>
      <dgm:spPr/>
      <dgm:t>
        <a:bodyPr/>
        <a:lstStyle/>
        <a:p>
          <a:endParaRPr lang="en-US"/>
        </a:p>
      </dgm:t>
    </dgm:pt>
    <dgm:pt modelId="{5A095DA0-BA45-4129-9099-CDE77A90D268}" type="sibTrans" cxnId="{1289DB03-00B4-4472-922B-68F16F2AB9BC}">
      <dgm:prSet/>
      <dgm:spPr/>
      <dgm:t>
        <a:bodyPr/>
        <a:lstStyle/>
        <a:p>
          <a:endParaRPr lang="en-US"/>
        </a:p>
      </dgm:t>
    </dgm:pt>
    <dgm:pt modelId="{AF1836AC-7D07-449B-AB63-444B0C1EDD19}">
      <dgm:prSet custT="1"/>
      <dgm:spPr/>
      <dgm:t>
        <a:bodyPr/>
        <a:lstStyle/>
        <a:p>
          <a:r>
            <a:rPr lang="en-US" sz="2000" dirty="0">
              <a:latin typeface="Segoe UI" panose="020B0502040204020203" pitchFamily="34" charset="0"/>
            </a:rPr>
            <a:t>May have one or more .ndf file</a:t>
          </a:r>
        </a:p>
      </dgm:t>
    </dgm:pt>
    <dgm:pt modelId="{D8BE3A34-97EA-46E4-B257-664ABFA0F60A}" type="parTrans" cxnId="{CA32B810-DA98-4660-97C4-7D04921538DC}">
      <dgm:prSet/>
      <dgm:spPr/>
      <dgm:t>
        <a:bodyPr/>
        <a:lstStyle/>
        <a:p>
          <a:endParaRPr lang="en-US"/>
        </a:p>
      </dgm:t>
    </dgm:pt>
    <dgm:pt modelId="{045EA307-7B0D-483E-84BE-F724F82314A1}" type="sibTrans" cxnId="{CA32B810-DA98-4660-97C4-7D04921538DC}">
      <dgm:prSet/>
      <dgm:spPr/>
      <dgm:t>
        <a:bodyPr/>
        <a:lstStyle/>
        <a:p>
          <a:endParaRPr lang="en-US"/>
        </a:p>
      </dgm:t>
    </dgm:pt>
    <dgm:pt modelId="{29710608-8D64-4162-8836-026682D7462C}">
      <dgm:prSet custT="1"/>
      <dgm:spPr/>
      <dgm:t>
        <a:bodyPr/>
        <a:lstStyle/>
        <a:p>
          <a:r>
            <a:rPr lang="en-US" sz="2000" dirty="0">
              <a:latin typeface="Segoe UI" panose="020B0502040204020203" pitchFamily="34" charset="0"/>
            </a:rPr>
            <a:t>Random reads and writes</a:t>
          </a:r>
        </a:p>
      </dgm:t>
    </dgm:pt>
    <dgm:pt modelId="{60754694-5BCB-4FEF-B9BF-C1B5A079EA09}" type="parTrans" cxnId="{153CA78C-D990-45D3-A244-063761487B99}">
      <dgm:prSet/>
      <dgm:spPr/>
      <dgm:t>
        <a:bodyPr/>
        <a:lstStyle/>
        <a:p>
          <a:endParaRPr lang="en-US"/>
        </a:p>
      </dgm:t>
    </dgm:pt>
    <dgm:pt modelId="{8757B622-0F5D-4520-867C-C5BABC656617}" type="sibTrans" cxnId="{153CA78C-D990-45D3-A244-063761487B99}">
      <dgm:prSet/>
      <dgm:spPr/>
      <dgm:t>
        <a:bodyPr/>
        <a:lstStyle/>
        <a:p>
          <a:endParaRPr lang="en-US"/>
        </a:p>
      </dgm:t>
    </dgm:pt>
    <dgm:pt modelId="{00309F1F-CC24-4788-8955-C6BA37756964}">
      <dgm:prSet custT="1"/>
      <dgm:spPr/>
      <dgm:t>
        <a:bodyPr/>
        <a:lstStyle/>
        <a:p>
          <a:r>
            <a:rPr lang="en-US" sz="2000" dirty="0">
              <a:latin typeface="Segoe UI" panose="020B0502040204020203" pitchFamily="34" charset="0"/>
            </a:rPr>
            <a:t>Write activity during checkpoints, recovery, and lazy writes</a:t>
          </a:r>
        </a:p>
      </dgm:t>
    </dgm:pt>
    <dgm:pt modelId="{DAAAF7D4-C2B2-4650-81C1-8FD14E93D8D5}" type="parTrans" cxnId="{1330D078-3342-46F4-AA4F-66E42B17DB23}">
      <dgm:prSet/>
      <dgm:spPr/>
      <dgm:t>
        <a:bodyPr/>
        <a:lstStyle/>
        <a:p>
          <a:endParaRPr lang="en-US"/>
        </a:p>
      </dgm:t>
    </dgm:pt>
    <dgm:pt modelId="{E1FFC08E-EA2A-45B4-93F9-54CFB0BD04E0}" type="sibTrans" cxnId="{1330D078-3342-46F4-AA4F-66E42B17DB23}">
      <dgm:prSet/>
      <dgm:spPr/>
      <dgm:t>
        <a:bodyPr/>
        <a:lstStyle/>
        <a:p>
          <a:endParaRPr lang="en-US"/>
        </a:p>
      </dgm:t>
    </dgm:pt>
    <dgm:pt modelId="{8DB25616-5232-42A4-9BE5-ABCD1363E09D}">
      <dgm:prSet custT="1"/>
      <dgm:spPr/>
      <dgm:t>
        <a:bodyPr/>
        <a:lstStyle/>
        <a:p>
          <a:r>
            <a:rPr lang="en-US" sz="2000" dirty="0">
              <a:latin typeface="Segoe UI" panose="020B0502040204020203" pitchFamily="34" charset="0"/>
            </a:rPr>
            <a:t>One .mdf file per database</a:t>
          </a:r>
        </a:p>
      </dgm:t>
    </dgm:pt>
    <dgm:pt modelId="{E1B92534-C2BE-4A7F-B9C3-E34CD7C0DEBA}" type="parTrans" cxnId="{E6618198-8692-460B-97AE-25FE9F2500E0}">
      <dgm:prSet/>
      <dgm:spPr/>
      <dgm:t>
        <a:bodyPr/>
        <a:lstStyle/>
        <a:p>
          <a:endParaRPr lang="en-US"/>
        </a:p>
      </dgm:t>
    </dgm:pt>
    <dgm:pt modelId="{572A957B-304A-4B92-AD4A-07FDE0888AA2}" type="sibTrans" cxnId="{E6618198-8692-460B-97AE-25FE9F2500E0}">
      <dgm:prSet/>
      <dgm:spPr/>
      <dgm:t>
        <a:bodyPr/>
        <a:lstStyle/>
        <a:p>
          <a:endParaRPr lang="en-US"/>
        </a:p>
      </dgm:t>
    </dgm:pt>
    <dgm:pt modelId="{65FAD969-BCC5-4250-8D1D-9BD8D06CAFA2}">
      <dgm:prSet custT="1"/>
      <dgm:spPr/>
      <dgm:t>
        <a:bodyPr/>
        <a:lstStyle/>
        <a:p>
          <a:r>
            <a:rPr lang="en-US" sz="2000" dirty="0">
              <a:latin typeface="Segoe UI" panose="020B0502040204020203" pitchFamily="34" charset="0"/>
            </a:rPr>
            <a:t>Read activity during backups; other activity varies depending on query activity and buffer pool size</a:t>
          </a:r>
        </a:p>
      </dgm:t>
    </dgm:pt>
    <dgm:pt modelId="{B3D3773D-034C-4B19-8DCD-9BDD0FE2D530}" type="parTrans" cxnId="{8602A2E9-B1AD-4514-8E0F-ABB4E334DB96}">
      <dgm:prSet/>
      <dgm:spPr/>
      <dgm:t>
        <a:bodyPr/>
        <a:lstStyle/>
        <a:p>
          <a:endParaRPr lang="en-US"/>
        </a:p>
      </dgm:t>
    </dgm:pt>
    <dgm:pt modelId="{0926FEC1-80E0-4CD4-A85C-B1A2F6D92D5F}" type="sibTrans" cxnId="{8602A2E9-B1AD-4514-8E0F-ABB4E334DB96}">
      <dgm:prSet/>
      <dgm:spPr/>
      <dgm:t>
        <a:bodyPr/>
        <a:lstStyle/>
        <a:p>
          <a:endParaRPr lang="en-US"/>
        </a:p>
      </dgm:t>
    </dgm:pt>
    <dgm:pt modelId="{56B8FEBF-7534-4989-B5EE-29BA6BD5ADFE}">
      <dgm:prSet custT="1"/>
      <dgm:spPr/>
      <dgm:t>
        <a:bodyPr/>
        <a:lstStyle/>
        <a:p>
          <a:r>
            <a:rPr lang="en-US" sz="2800" baseline="0" dirty="0">
              <a:latin typeface="Segoe UI" panose="020B0502040204020203" pitchFamily="34" charset="0"/>
            </a:rPr>
            <a:t>Log Files</a:t>
          </a:r>
          <a:endParaRPr lang="en-US" sz="2800" dirty="0">
            <a:latin typeface="Segoe UI" panose="020B0502040204020203" pitchFamily="34" charset="0"/>
          </a:endParaRPr>
        </a:p>
      </dgm:t>
    </dgm:pt>
    <dgm:pt modelId="{5AACDA45-AC67-4560-A4B6-90267679CDDA}" type="parTrans" cxnId="{1DB0BA69-1DA9-4A81-A3FB-813785402A43}">
      <dgm:prSet/>
      <dgm:spPr/>
      <dgm:t>
        <a:bodyPr/>
        <a:lstStyle/>
        <a:p>
          <a:endParaRPr lang="en-US"/>
        </a:p>
      </dgm:t>
    </dgm:pt>
    <dgm:pt modelId="{1DC2C067-8DBC-4FC6-B1B5-3ECFF65DF59E}" type="sibTrans" cxnId="{1DB0BA69-1DA9-4A81-A3FB-813785402A43}">
      <dgm:prSet/>
      <dgm:spPr/>
      <dgm:t>
        <a:bodyPr/>
        <a:lstStyle/>
        <a:p>
          <a:endParaRPr lang="en-US"/>
        </a:p>
      </dgm:t>
    </dgm:pt>
    <dgm:pt modelId="{0BC564E0-FF71-4F18-9DD8-5BC81FD4C643}">
      <dgm:prSet custT="1"/>
      <dgm:spPr/>
      <dgm:t>
        <a:bodyPr/>
        <a:lstStyle/>
        <a:p>
          <a:r>
            <a:rPr lang="en-US" sz="2000" baseline="0" dirty="0">
              <a:latin typeface="Segoe UI" panose="020B0502040204020203" pitchFamily="34" charset="0"/>
            </a:rPr>
            <a:t>One* .ldf file per database</a:t>
          </a:r>
          <a:endParaRPr lang="en-US" sz="2000" dirty="0">
            <a:latin typeface="Segoe UI" panose="020B0502040204020203" pitchFamily="34" charset="0"/>
          </a:endParaRPr>
        </a:p>
      </dgm:t>
    </dgm:pt>
    <dgm:pt modelId="{0617AE1E-80E3-4C94-9052-C93C27A8943B}" type="parTrans" cxnId="{7BCF1013-38C9-48E2-972E-DBEB84C420D9}">
      <dgm:prSet/>
      <dgm:spPr/>
      <dgm:t>
        <a:bodyPr/>
        <a:lstStyle/>
        <a:p>
          <a:endParaRPr lang="en-US"/>
        </a:p>
      </dgm:t>
    </dgm:pt>
    <dgm:pt modelId="{658E58EC-50C7-486E-8F28-5391C747F232}" type="sibTrans" cxnId="{7BCF1013-38C9-48E2-972E-DBEB84C420D9}">
      <dgm:prSet/>
      <dgm:spPr/>
      <dgm:t>
        <a:bodyPr/>
        <a:lstStyle/>
        <a:p>
          <a:endParaRPr lang="en-US"/>
        </a:p>
      </dgm:t>
    </dgm:pt>
    <dgm:pt modelId="{95504391-4205-4D67-ADA0-8E80282699E7}">
      <dgm:prSet custT="1"/>
      <dgm:spPr/>
      <dgm:t>
        <a:bodyPr/>
        <a:lstStyle/>
        <a:p>
          <a:r>
            <a:rPr lang="en-US" sz="2000" baseline="0" dirty="0">
              <a:latin typeface="Segoe UI" panose="020B0502040204020203" pitchFamily="34" charset="0"/>
            </a:rPr>
            <a:t>Sequential reads and writes</a:t>
          </a:r>
          <a:endParaRPr lang="en-US" sz="2000" dirty="0">
            <a:latin typeface="Segoe UI" panose="020B0502040204020203" pitchFamily="34" charset="0"/>
          </a:endParaRPr>
        </a:p>
      </dgm:t>
    </dgm:pt>
    <dgm:pt modelId="{329209A9-4749-4CFD-A8F1-A62BA0BEE6F3}" type="parTrans" cxnId="{7C9E4CA2-17A8-4B86-9934-E0EE9A841695}">
      <dgm:prSet/>
      <dgm:spPr/>
      <dgm:t>
        <a:bodyPr/>
        <a:lstStyle/>
        <a:p>
          <a:endParaRPr lang="en-US"/>
        </a:p>
      </dgm:t>
    </dgm:pt>
    <dgm:pt modelId="{3E9C5F82-D3BC-408A-A184-E84965CBB356}" type="sibTrans" cxnId="{7C9E4CA2-17A8-4B86-9934-E0EE9A841695}">
      <dgm:prSet/>
      <dgm:spPr/>
      <dgm:t>
        <a:bodyPr/>
        <a:lstStyle/>
        <a:p>
          <a:endParaRPr lang="en-US"/>
        </a:p>
      </dgm:t>
    </dgm:pt>
    <dgm:pt modelId="{35F1FCFF-E5AD-4D87-A34D-50EF80B3603B}">
      <dgm:prSet custT="1"/>
      <dgm:spPr/>
      <dgm:t>
        <a:bodyPr/>
        <a:lstStyle/>
        <a:p>
          <a:r>
            <a:rPr lang="en-US" sz="2000" baseline="0" dirty="0">
              <a:latin typeface="Segoe UI" panose="020B0502040204020203" pitchFamily="34" charset="0"/>
            </a:rPr>
            <a:t>Write activity during the log buffer flush operations</a:t>
          </a:r>
          <a:endParaRPr lang="en-US" sz="2000" dirty="0">
            <a:latin typeface="Segoe UI" panose="020B0502040204020203" pitchFamily="34" charset="0"/>
          </a:endParaRPr>
        </a:p>
      </dgm:t>
    </dgm:pt>
    <dgm:pt modelId="{06991BED-55E1-4A8C-AF07-F96B592CFEAD}" type="parTrans" cxnId="{04F4DDFB-2D7E-434D-B431-B1B83C2D6E7A}">
      <dgm:prSet/>
      <dgm:spPr/>
      <dgm:t>
        <a:bodyPr/>
        <a:lstStyle/>
        <a:p>
          <a:endParaRPr lang="en-US"/>
        </a:p>
      </dgm:t>
    </dgm:pt>
    <dgm:pt modelId="{38154B13-898A-47A5-9197-B5E4F8E4E585}" type="sibTrans" cxnId="{04F4DDFB-2D7E-434D-B431-B1B83C2D6E7A}">
      <dgm:prSet/>
      <dgm:spPr/>
      <dgm:t>
        <a:bodyPr/>
        <a:lstStyle/>
        <a:p>
          <a:endParaRPr lang="en-US"/>
        </a:p>
      </dgm:t>
    </dgm:pt>
    <dgm:pt modelId="{0A69D568-0976-48EF-BC36-59A423252A5D}">
      <dgm:prSet custT="1"/>
      <dgm:spPr/>
      <dgm:t>
        <a:bodyPr/>
        <a:lstStyle/>
        <a:p>
          <a:r>
            <a:rPr lang="en-US" sz="2000" baseline="0" dirty="0">
              <a:latin typeface="Segoe UI" panose="020B0502040204020203" pitchFamily="34" charset="0"/>
            </a:rPr>
            <a:t>Read activity during checkpoints, backups, and recovery</a:t>
          </a:r>
          <a:endParaRPr lang="en-US" sz="2000" dirty="0">
            <a:latin typeface="Segoe UI" panose="020B0502040204020203" pitchFamily="34" charset="0"/>
          </a:endParaRPr>
        </a:p>
      </dgm:t>
    </dgm:pt>
    <dgm:pt modelId="{A345290C-AFAE-443F-A3A1-1CA9BF17F032}" type="parTrans" cxnId="{BAC3A851-B440-4496-940C-D444F6DE615F}">
      <dgm:prSet/>
      <dgm:spPr/>
      <dgm:t>
        <a:bodyPr/>
        <a:lstStyle/>
        <a:p>
          <a:endParaRPr lang="en-US"/>
        </a:p>
      </dgm:t>
    </dgm:pt>
    <dgm:pt modelId="{F205640A-0B78-4EB3-8ADD-B9ADE010060C}" type="sibTrans" cxnId="{BAC3A851-B440-4496-940C-D444F6DE615F}">
      <dgm:prSet/>
      <dgm:spPr/>
      <dgm:t>
        <a:bodyPr/>
        <a:lstStyle/>
        <a:p>
          <a:endParaRPr lang="en-US"/>
        </a:p>
      </dgm:t>
    </dgm:pt>
    <dgm:pt modelId="{1249D2CE-72BF-46F0-95D7-F163F9C26B86}">
      <dgm:prSet custT="1"/>
      <dgm:spPr/>
      <dgm:t>
        <a:bodyPr/>
        <a:lstStyle/>
        <a:p>
          <a:r>
            <a:rPr lang="en-US" sz="2000" baseline="0" dirty="0">
              <a:latin typeface="Segoe UI" panose="020B0502040204020203" pitchFamily="34" charset="0"/>
            </a:rPr>
            <a:t>Features such as database mirroring and replication will increase read and write activity</a:t>
          </a:r>
          <a:endParaRPr lang="en-US" sz="2000" dirty="0">
            <a:latin typeface="Segoe UI" panose="020B0502040204020203" pitchFamily="34" charset="0"/>
          </a:endParaRPr>
        </a:p>
      </dgm:t>
    </dgm:pt>
    <dgm:pt modelId="{09E7B9BD-8EA0-4F09-A547-9AC109925469}" type="parTrans" cxnId="{D2B2E89D-9A4C-403A-BF4A-ABDCFFADD174}">
      <dgm:prSet/>
      <dgm:spPr/>
      <dgm:t>
        <a:bodyPr/>
        <a:lstStyle/>
        <a:p>
          <a:endParaRPr lang="en-US"/>
        </a:p>
      </dgm:t>
    </dgm:pt>
    <dgm:pt modelId="{FECD3895-6FC7-4FF7-8DCD-EC9AF9E53154}" type="sibTrans" cxnId="{D2B2E89D-9A4C-403A-BF4A-ABDCFFADD174}">
      <dgm:prSet/>
      <dgm:spPr/>
      <dgm:t>
        <a:bodyPr/>
        <a:lstStyle/>
        <a:p>
          <a:endParaRPr lang="en-US"/>
        </a:p>
      </dgm:t>
    </dgm:pt>
    <dgm:pt modelId="{C79330A8-C7CF-4F2F-9B54-DCB03D6E059B}" type="pres">
      <dgm:prSet presAssocID="{7265FA74-4C76-4AA5-B436-B0DA5FA08A33}" presName="linear" presStyleCnt="0">
        <dgm:presLayoutVars>
          <dgm:dir/>
          <dgm:animLvl val="lvl"/>
          <dgm:resizeHandles val="exact"/>
        </dgm:presLayoutVars>
      </dgm:prSet>
      <dgm:spPr/>
    </dgm:pt>
    <dgm:pt modelId="{20F90FE4-1CEB-4F7B-8B11-7E52E3089E15}" type="pres">
      <dgm:prSet presAssocID="{B2D613BE-44ED-4833-A9C1-1A3BE887CEBE}" presName="parentLin" presStyleCnt="0"/>
      <dgm:spPr/>
    </dgm:pt>
    <dgm:pt modelId="{6DDD546B-02EA-4477-B6C2-401DDB38AC1C}" type="pres">
      <dgm:prSet presAssocID="{B2D613BE-44ED-4833-A9C1-1A3BE887CEBE}" presName="parentLeftMargin" presStyleLbl="node1" presStyleIdx="0" presStyleCnt="2"/>
      <dgm:spPr/>
    </dgm:pt>
    <dgm:pt modelId="{DC07B57F-D261-4639-A828-A8C83A449FA6}" type="pres">
      <dgm:prSet presAssocID="{B2D613BE-44ED-4833-A9C1-1A3BE887CEBE}" presName="parentText" presStyleLbl="node1" presStyleIdx="0" presStyleCnt="2">
        <dgm:presLayoutVars>
          <dgm:chMax val="0"/>
          <dgm:bulletEnabled val="1"/>
        </dgm:presLayoutVars>
      </dgm:prSet>
      <dgm:spPr/>
    </dgm:pt>
    <dgm:pt modelId="{9CA2E8C7-54CD-470C-B5BC-FDD32C2903EB}" type="pres">
      <dgm:prSet presAssocID="{B2D613BE-44ED-4833-A9C1-1A3BE887CEBE}" presName="negativeSpace" presStyleCnt="0"/>
      <dgm:spPr/>
    </dgm:pt>
    <dgm:pt modelId="{22276CA2-6909-480D-A02E-797D41D36A42}" type="pres">
      <dgm:prSet presAssocID="{B2D613BE-44ED-4833-A9C1-1A3BE887CEBE}" presName="childText" presStyleLbl="conFgAcc1" presStyleIdx="0" presStyleCnt="2">
        <dgm:presLayoutVars>
          <dgm:bulletEnabled val="1"/>
        </dgm:presLayoutVars>
      </dgm:prSet>
      <dgm:spPr/>
    </dgm:pt>
    <dgm:pt modelId="{C9ECD780-5BFF-4009-A410-173011D5613A}" type="pres">
      <dgm:prSet presAssocID="{5A095DA0-BA45-4129-9099-CDE77A90D268}" presName="spaceBetweenRectangles" presStyleCnt="0"/>
      <dgm:spPr/>
    </dgm:pt>
    <dgm:pt modelId="{099FEC7B-160E-4259-9F15-A6011DAA2BF9}" type="pres">
      <dgm:prSet presAssocID="{56B8FEBF-7534-4989-B5EE-29BA6BD5ADFE}" presName="parentLin" presStyleCnt="0"/>
      <dgm:spPr/>
    </dgm:pt>
    <dgm:pt modelId="{3488A31B-32C8-4E35-9D60-5405B1D3B982}" type="pres">
      <dgm:prSet presAssocID="{56B8FEBF-7534-4989-B5EE-29BA6BD5ADFE}" presName="parentLeftMargin" presStyleLbl="node1" presStyleIdx="0" presStyleCnt="2"/>
      <dgm:spPr/>
    </dgm:pt>
    <dgm:pt modelId="{E69402FC-471B-4A89-B10E-D4C4F3060E8A}" type="pres">
      <dgm:prSet presAssocID="{56B8FEBF-7534-4989-B5EE-29BA6BD5ADFE}" presName="parentText" presStyleLbl="node1" presStyleIdx="1" presStyleCnt="2">
        <dgm:presLayoutVars>
          <dgm:chMax val="0"/>
          <dgm:bulletEnabled val="1"/>
        </dgm:presLayoutVars>
      </dgm:prSet>
      <dgm:spPr/>
    </dgm:pt>
    <dgm:pt modelId="{4B39B7A3-9FA6-4D39-9B55-8AADC16CBFB5}" type="pres">
      <dgm:prSet presAssocID="{56B8FEBF-7534-4989-B5EE-29BA6BD5ADFE}" presName="negativeSpace" presStyleCnt="0"/>
      <dgm:spPr/>
    </dgm:pt>
    <dgm:pt modelId="{A5356A9C-92F2-42D9-B685-432A2513A393}" type="pres">
      <dgm:prSet presAssocID="{56B8FEBF-7534-4989-B5EE-29BA6BD5ADFE}" presName="childText" presStyleLbl="conFgAcc1" presStyleIdx="1" presStyleCnt="2">
        <dgm:presLayoutVars>
          <dgm:bulletEnabled val="1"/>
        </dgm:presLayoutVars>
      </dgm:prSet>
      <dgm:spPr/>
    </dgm:pt>
  </dgm:ptLst>
  <dgm:cxnLst>
    <dgm:cxn modelId="{1289DB03-00B4-4472-922B-68F16F2AB9BC}" srcId="{7265FA74-4C76-4AA5-B436-B0DA5FA08A33}" destId="{B2D613BE-44ED-4833-A9C1-1A3BE887CEBE}" srcOrd="0" destOrd="0" parTransId="{3965E237-C7E4-4A20-BCD9-6BB907E081F9}" sibTransId="{5A095DA0-BA45-4129-9099-CDE77A90D268}"/>
    <dgm:cxn modelId="{CA32B810-DA98-4660-97C4-7D04921538DC}" srcId="{B2D613BE-44ED-4833-A9C1-1A3BE887CEBE}" destId="{AF1836AC-7D07-449B-AB63-444B0C1EDD19}" srcOrd="1" destOrd="0" parTransId="{D8BE3A34-97EA-46E4-B257-664ABFA0F60A}" sibTransId="{045EA307-7B0D-483E-84BE-F724F82314A1}"/>
    <dgm:cxn modelId="{7BCF1013-38C9-48E2-972E-DBEB84C420D9}" srcId="{56B8FEBF-7534-4989-B5EE-29BA6BD5ADFE}" destId="{0BC564E0-FF71-4F18-9DD8-5BC81FD4C643}" srcOrd="0" destOrd="0" parTransId="{0617AE1E-80E3-4C94-9052-C93C27A8943B}" sibTransId="{658E58EC-50C7-486E-8F28-5391C747F232}"/>
    <dgm:cxn modelId="{A8D1762B-A6ED-4975-B311-3E7B57C34E81}" type="presOf" srcId="{8DB25616-5232-42A4-9BE5-ABCD1363E09D}" destId="{22276CA2-6909-480D-A02E-797D41D36A42}" srcOrd="0" destOrd="0" presId="urn:microsoft.com/office/officeart/2005/8/layout/list1"/>
    <dgm:cxn modelId="{280A6933-037C-4D94-A319-3E95554627F1}" type="presOf" srcId="{95504391-4205-4D67-ADA0-8E80282699E7}" destId="{A5356A9C-92F2-42D9-B685-432A2513A393}" srcOrd="0" destOrd="1" presId="urn:microsoft.com/office/officeart/2005/8/layout/list1"/>
    <dgm:cxn modelId="{A7975333-233F-48DB-9A66-5D38ECCC8A1A}" type="presOf" srcId="{65FAD969-BCC5-4250-8D1D-9BD8D06CAFA2}" destId="{22276CA2-6909-480D-A02E-797D41D36A42}" srcOrd="0" destOrd="3" presId="urn:microsoft.com/office/officeart/2005/8/layout/list1"/>
    <dgm:cxn modelId="{E3DB2A36-D1FE-472A-B05C-5B0B27DD5416}" type="presOf" srcId="{0A69D568-0976-48EF-BC36-59A423252A5D}" destId="{A5356A9C-92F2-42D9-B685-432A2513A393}" srcOrd="0" destOrd="3" presId="urn:microsoft.com/office/officeart/2005/8/layout/list1"/>
    <dgm:cxn modelId="{8007D539-D3B5-4788-BE80-74151A834CC6}" type="presOf" srcId="{B2D613BE-44ED-4833-A9C1-1A3BE887CEBE}" destId="{6DDD546B-02EA-4477-B6C2-401DDB38AC1C}" srcOrd="0" destOrd="0" presId="urn:microsoft.com/office/officeart/2005/8/layout/list1"/>
    <dgm:cxn modelId="{BDD3E465-94EE-4643-9B13-A944CBD7A9C3}" type="presOf" srcId="{1249D2CE-72BF-46F0-95D7-F163F9C26B86}" destId="{A5356A9C-92F2-42D9-B685-432A2513A393}" srcOrd="0" destOrd="4" presId="urn:microsoft.com/office/officeart/2005/8/layout/list1"/>
    <dgm:cxn modelId="{EF18A947-4F69-411A-BE59-AAC478C5F73D}" type="presOf" srcId="{0BC564E0-FF71-4F18-9DD8-5BC81FD4C643}" destId="{A5356A9C-92F2-42D9-B685-432A2513A393}" srcOrd="0" destOrd="0" presId="urn:microsoft.com/office/officeart/2005/8/layout/list1"/>
    <dgm:cxn modelId="{1DB0BA69-1DA9-4A81-A3FB-813785402A43}" srcId="{7265FA74-4C76-4AA5-B436-B0DA5FA08A33}" destId="{56B8FEBF-7534-4989-B5EE-29BA6BD5ADFE}" srcOrd="1" destOrd="0" parTransId="{5AACDA45-AC67-4560-A4B6-90267679CDDA}" sibTransId="{1DC2C067-8DBC-4FC6-B1B5-3ECFF65DF59E}"/>
    <dgm:cxn modelId="{3F69AA4C-37E1-473D-828C-BEE199B7FF65}" type="presOf" srcId="{56B8FEBF-7534-4989-B5EE-29BA6BD5ADFE}" destId="{3488A31B-32C8-4E35-9D60-5405B1D3B982}" srcOrd="0" destOrd="0" presId="urn:microsoft.com/office/officeart/2005/8/layout/list1"/>
    <dgm:cxn modelId="{7F286950-4066-4FB9-A2BF-D292EEBB5D62}" type="presOf" srcId="{B2D613BE-44ED-4833-A9C1-1A3BE887CEBE}" destId="{DC07B57F-D261-4639-A828-A8C83A449FA6}" srcOrd="1" destOrd="0" presId="urn:microsoft.com/office/officeart/2005/8/layout/list1"/>
    <dgm:cxn modelId="{BAC3A851-B440-4496-940C-D444F6DE615F}" srcId="{56B8FEBF-7534-4989-B5EE-29BA6BD5ADFE}" destId="{0A69D568-0976-48EF-BC36-59A423252A5D}" srcOrd="3" destOrd="0" parTransId="{A345290C-AFAE-443F-A3A1-1CA9BF17F032}" sibTransId="{F205640A-0B78-4EB3-8ADD-B9ADE010060C}"/>
    <dgm:cxn modelId="{1330D078-3342-46F4-AA4F-66E42B17DB23}" srcId="{29710608-8D64-4162-8836-026682D7462C}" destId="{00309F1F-CC24-4788-8955-C6BA37756964}" srcOrd="1" destOrd="0" parTransId="{DAAAF7D4-C2B2-4650-81C1-8FD14E93D8D5}" sibTransId="{E1FFC08E-EA2A-45B4-93F9-54CFB0BD04E0}"/>
    <dgm:cxn modelId="{297B387D-68B0-4DF4-A158-35886CBA49F9}" type="presOf" srcId="{00309F1F-CC24-4788-8955-C6BA37756964}" destId="{22276CA2-6909-480D-A02E-797D41D36A42}" srcOrd="0" destOrd="4" presId="urn:microsoft.com/office/officeart/2005/8/layout/list1"/>
    <dgm:cxn modelId="{09341688-050C-42A5-86A9-3524371504DC}" type="presOf" srcId="{35F1FCFF-E5AD-4D87-A34D-50EF80B3603B}" destId="{A5356A9C-92F2-42D9-B685-432A2513A393}" srcOrd="0" destOrd="2" presId="urn:microsoft.com/office/officeart/2005/8/layout/list1"/>
    <dgm:cxn modelId="{153CA78C-D990-45D3-A244-063761487B99}" srcId="{B2D613BE-44ED-4833-A9C1-1A3BE887CEBE}" destId="{29710608-8D64-4162-8836-026682D7462C}" srcOrd="2" destOrd="0" parTransId="{60754694-5BCB-4FEF-B9BF-C1B5A079EA09}" sibTransId="{8757B622-0F5D-4520-867C-C5BABC656617}"/>
    <dgm:cxn modelId="{E6618198-8692-460B-97AE-25FE9F2500E0}" srcId="{B2D613BE-44ED-4833-A9C1-1A3BE887CEBE}" destId="{8DB25616-5232-42A4-9BE5-ABCD1363E09D}" srcOrd="0" destOrd="0" parTransId="{E1B92534-C2BE-4A7F-B9C3-E34CD7C0DEBA}" sibTransId="{572A957B-304A-4B92-AD4A-07FDE0888AA2}"/>
    <dgm:cxn modelId="{D2B2E89D-9A4C-403A-BF4A-ABDCFFADD174}" srcId="{56B8FEBF-7534-4989-B5EE-29BA6BD5ADFE}" destId="{1249D2CE-72BF-46F0-95D7-F163F9C26B86}" srcOrd="4" destOrd="0" parTransId="{09E7B9BD-8EA0-4F09-A547-9AC109925469}" sibTransId="{FECD3895-6FC7-4FF7-8DCD-EC9AF9E53154}"/>
    <dgm:cxn modelId="{7C9E4CA2-17A8-4B86-9934-E0EE9A841695}" srcId="{56B8FEBF-7534-4989-B5EE-29BA6BD5ADFE}" destId="{95504391-4205-4D67-ADA0-8E80282699E7}" srcOrd="1" destOrd="0" parTransId="{329209A9-4749-4CFD-A8F1-A62BA0BEE6F3}" sibTransId="{3E9C5F82-D3BC-408A-A184-E84965CBB356}"/>
    <dgm:cxn modelId="{AA5BE2A4-4ED3-4501-A469-B455672D6930}" type="presOf" srcId="{7265FA74-4C76-4AA5-B436-B0DA5FA08A33}" destId="{C79330A8-C7CF-4F2F-9B54-DCB03D6E059B}" srcOrd="0" destOrd="0" presId="urn:microsoft.com/office/officeart/2005/8/layout/list1"/>
    <dgm:cxn modelId="{8EC44BC2-56A7-408A-A942-25FA012B02B2}" type="presOf" srcId="{29710608-8D64-4162-8836-026682D7462C}" destId="{22276CA2-6909-480D-A02E-797D41D36A42}" srcOrd="0" destOrd="2" presId="urn:microsoft.com/office/officeart/2005/8/layout/list1"/>
    <dgm:cxn modelId="{17F39DDA-7ABC-4FD9-9E13-853403A96140}" type="presOf" srcId="{AF1836AC-7D07-449B-AB63-444B0C1EDD19}" destId="{22276CA2-6909-480D-A02E-797D41D36A42}" srcOrd="0" destOrd="1" presId="urn:microsoft.com/office/officeart/2005/8/layout/list1"/>
    <dgm:cxn modelId="{8602A2E9-B1AD-4514-8E0F-ABB4E334DB96}" srcId="{29710608-8D64-4162-8836-026682D7462C}" destId="{65FAD969-BCC5-4250-8D1D-9BD8D06CAFA2}" srcOrd="0" destOrd="0" parTransId="{B3D3773D-034C-4B19-8DCD-9BDD0FE2D530}" sibTransId="{0926FEC1-80E0-4CD4-A85C-B1A2F6D92D5F}"/>
    <dgm:cxn modelId="{B5EE9AF6-60EA-4209-A29F-5631A938711D}" type="presOf" srcId="{56B8FEBF-7534-4989-B5EE-29BA6BD5ADFE}" destId="{E69402FC-471B-4A89-B10E-D4C4F3060E8A}" srcOrd="1" destOrd="0" presId="urn:microsoft.com/office/officeart/2005/8/layout/list1"/>
    <dgm:cxn modelId="{04F4DDFB-2D7E-434D-B431-B1B83C2D6E7A}" srcId="{56B8FEBF-7534-4989-B5EE-29BA6BD5ADFE}" destId="{35F1FCFF-E5AD-4D87-A34D-50EF80B3603B}" srcOrd="2" destOrd="0" parTransId="{06991BED-55E1-4A8C-AF07-F96B592CFEAD}" sibTransId="{38154B13-898A-47A5-9197-B5E4F8E4E585}"/>
    <dgm:cxn modelId="{5D8246D5-7125-44D2-AA24-EBE88F40FE3E}" type="presParOf" srcId="{C79330A8-C7CF-4F2F-9B54-DCB03D6E059B}" destId="{20F90FE4-1CEB-4F7B-8B11-7E52E3089E15}" srcOrd="0" destOrd="0" presId="urn:microsoft.com/office/officeart/2005/8/layout/list1"/>
    <dgm:cxn modelId="{DE0665EE-1201-4843-917D-7E97CB1944AA}" type="presParOf" srcId="{20F90FE4-1CEB-4F7B-8B11-7E52E3089E15}" destId="{6DDD546B-02EA-4477-B6C2-401DDB38AC1C}" srcOrd="0" destOrd="0" presId="urn:microsoft.com/office/officeart/2005/8/layout/list1"/>
    <dgm:cxn modelId="{27CAC7D1-1798-4EF9-997D-0C5520658181}" type="presParOf" srcId="{20F90FE4-1CEB-4F7B-8B11-7E52E3089E15}" destId="{DC07B57F-D261-4639-A828-A8C83A449FA6}" srcOrd="1" destOrd="0" presId="urn:microsoft.com/office/officeart/2005/8/layout/list1"/>
    <dgm:cxn modelId="{B5AC499E-0152-4AE1-AA5C-5272D6037FD8}" type="presParOf" srcId="{C79330A8-C7CF-4F2F-9B54-DCB03D6E059B}" destId="{9CA2E8C7-54CD-470C-B5BC-FDD32C2903EB}" srcOrd="1" destOrd="0" presId="urn:microsoft.com/office/officeart/2005/8/layout/list1"/>
    <dgm:cxn modelId="{42778FE8-F560-47F7-A005-670831A26D10}" type="presParOf" srcId="{C79330A8-C7CF-4F2F-9B54-DCB03D6E059B}" destId="{22276CA2-6909-480D-A02E-797D41D36A42}" srcOrd="2" destOrd="0" presId="urn:microsoft.com/office/officeart/2005/8/layout/list1"/>
    <dgm:cxn modelId="{678B205D-40F0-433C-8A25-A4D7D4F98543}" type="presParOf" srcId="{C79330A8-C7CF-4F2F-9B54-DCB03D6E059B}" destId="{C9ECD780-5BFF-4009-A410-173011D5613A}" srcOrd="3" destOrd="0" presId="urn:microsoft.com/office/officeart/2005/8/layout/list1"/>
    <dgm:cxn modelId="{159D1247-E502-412D-B488-82BDC229B331}" type="presParOf" srcId="{C79330A8-C7CF-4F2F-9B54-DCB03D6E059B}" destId="{099FEC7B-160E-4259-9F15-A6011DAA2BF9}" srcOrd="4" destOrd="0" presId="urn:microsoft.com/office/officeart/2005/8/layout/list1"/>
    <dgm:cxn modelId="{3B5A9854-FCCF-4541-988B-8BD076B35606}" type="presParOf" srcId="{099FEC7B-160E-4259-9F15-A6011DAA2BF9}" destId="{3488A31B-32C8-4E35-9D60-5405B1D3B982}" srcOrd="0" destOrd="0" presId="urn:microsoft.com/office/officeart/2005/8/layout/list1"/>
    <dgm:cxn modelId="{F7556033-7974-4DA2-B995-BAA68F12F369}" type="presParOf" srcId="{099FEC7B-160E-4259-9F15-A6011DAA2BF9}" destId="{E69402FC-471B-4A89-B10E-D4C4F3060E8A}" srcOrd="1" destOrd="0" presId="urn:microsoft.com/office/officeart/2005/8/layout/list1"/>
    <dgm:cxn modelId="{39984AA6-150D-4A18-82E8-A447BA11C03C}" type="presParOf" srcId="{C79330A8-C7CF-4F2F-9B54-DCB03D6E059B}" destId="{4B39B7A3-9FA6-4D39-9B55-8AADC16CBFB5}" srcOrd="5" destOrd="0" presId="urn:microsoft.com/office/officeart/2005/8/layout/list1"/>
    <dgm:cxn modelId="{F73363A6-A27A-4E09-B2CD-704448CDF5FF}" type="presParOf" srcId="{C79330A8-C7CF-4F2F-9B54-DCB03D6E059B}" destId="{A5356A9C-92F2-42D9-B685-432A2513A393}"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05EADFC-2FAC-4D5E-A6D5-3BC03456B58E}"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175F6F73-FCFC-4DC0-AD75-ED259207FD52}">
      <dgm:prSet custT="1"/>
      <dgm:spPr/>
      <dgm:t>
        <a:bodyPr/>
        <a:lstStyle/>
        <a:p>
          <a:r>
            <a:rPr lang="en-US" sz="3200" baseline="0" dirty="0"/>
            <a:t>SQL Server will flush the log buffer to the log file</a:t>
          </a:r>
          <a:endParaRPr lang="en-US" sz="3200" dirty="0"/>
        </a:p>
      </dgm:t>
    </dgm:pt>
    <dgm:pt modelId="{016FAE5A-306C-47F1-9775-927808989621}" type="parTrans" cxnId="{C31C0E7B-3525-4DAA-BA3B-3553E7C9497B}">
      <dgm:prSet/>
      <dgm:spPr/>
      <dgm:t>
        <a:bodyPr/>
        <a:lstStyle/>
        <a:p>
          <a:endParaRPr lang="en-US"/>
        </a:p>
      </dgm:t>
    </dgm:pt>
    <dgm:pt modelId="{B694F62B-1755-4A2D-925A-C6F7D715882A}" type="sibTrans" cxnId="{C31C0E7B-3525-4DAA-BA3B-3553E7C9497B}">
      <dgm:prSet/>
      <dgm:spPr/>
      <dgm:t>
        <a:bodyPr/>
        <a:lstStyle/>
        <a:p>
          <a:endParaRPr lang="en-US"/>
        </a:p>
      </dgm:t>
    </dgm:pt>
    <dgm:pt modelId="{5A3B8D5C-6FD2-4A8A-951A-EE65A7782C45}">
      <dgm:prSet custT="1"/>
      <dgm:spPr/>
      <dgm:t>
        <a:bodyPr/>
        <a:lstStyle/>
        <a:p>
          <a:r>
            <a:rPr lang="en-US" sz="2400" baseline="0" dirty="0"/>
            <a:t>SQL Server gets a commit request of a transaction that changes data.</a:t>
          </a:r>
          <a:endParaRPr lang="en-US" sz="2400" dirty="0"/>
        </a:p>
      </dgm:t>
    </dgm:pt>
    <dgm:pt modelId="{F3957295-B2F7-4DEF-938E-C041F411F020}" type="parTrans" cxnId="{8E8B1D30-99E2-40B0-B5EE-1B11A59026D1}">
      <dgm:prSet/>
      <dgm:spPr/>
      <dgm:t>
        <a:bodyPr/>
        <a:lstStyle/>
        <a:p>
          <a:endParaRPr lang="en-US"/>
        </a:p>
      </dgm:t>
    </dgm:pt>
    <dgm:pt modelId="{EA02A364-318F-441C-866A-59DF60DFFE76}" type="sibTrans" cxnId="{8E8B1D30-99E2-40B0-B5EE-1B11A59026D1}">
      <dgm:prSet/>
      <dgm:spPr/>
      <dgm:t>
        <a:bodyPr/>
        <a:lstStyle/>
        <a:p>
          <a:endParaRPr lang="en-US"/>
        </a:p>
      </dgm:t>
    </dgm:pt>
    <dgm:pt modelId="{F332BC46-E0CB-4A71-97F1-F186D1A527B5}">
      <dgm:prSet custT="1"/>
      <dgm:spPr/>
      <dgm:t>
        <a:bodyPr/>
        <a:lstStyle/>
        <a:p>
          <a:r>
            <a:rPr lang="en-US" sz="2400" baseline="0" dirty="0"/>
            <a:t>The log buffer fills up. (Max size 60kb.)</a:t>
          </a:r>
          <a:endParaRPr lang="en-US" sz="2400" dirty="0"/>
        </a:p>
      </dgm:t>
    </dgm:pt>
    <dgm:pt modelId="{F224F40A-8DA4-4A07-914B-718936D40C22}" type="parTrans" cxnId="{D311C514-B75F-4CFE-8D69-CB67DE248189}">
      <dgm:prSet/>
      <dgm:spPr/>
      <dgm:t>
        <a:bodyPr/>
        <a:lstStyle/>
        <a:p>
          <a:endParaRPr lang="en-US"/>
        </a:p>
      </dgm:t>
    </dgm:pt>
    <dgm:pt modelId="{B680B321-C17F-4226-B07C-F2346CD3FD8D}" type="sibTrans" cxnId="{D311C514-B75F-4CFE-8D69-CB67DE248189}">
      <dgm:prSet/>
      <dgm:spPr/>
      <dgm:t>
        <a:bodyPr/>
        <a:lstStyle/>
        <a:p>
          <a:endParaRPr lang="en-US"/>
        </a:p>
      </dgm:t>
    </dgm:pt>
    <dgm:pt modelId="{098E019B-6BCE-46E9-AF83-C28DB7B2B120}">
      <dgm:prSet custT="1"/>
      <dgm:spPr/>
      <dgm:t>
        <a:bodyPr/>
        <a:lstStyle/>
        <a:p>
          <a:r>
            <a:rPr lang="en-US" sz="2400" baseline="0" dirty="0"/>
            <a:t>SQL Server needs to harden dirty data pages (checkpoints)</a:t>
          </a:r>
          <a:endParaRPr lang="en-US" sz="2400" dirty="0"/>
        </a:p>
      </dgm:t>
    </dgm:pt>
    <dgm:pt modelId="{90121E53-C160-45FF-9FF5-2ED9851C7580}" type="parTrans" cxnId="{730DB5B7-7DDE-4C17-A497-BD1B9FBC2991}">
      <dgm:prSet/>
      <dgm:spPr/>
      <dgm:t>
        <a:bodyPr/>
        <a:lstStyle/>
        <a:p>
          <a:endParaRPr lang="en-US"/>
        </a:p>
      </dgm:t>
    </dgm:pt>
    <dgm:pt modelId="{B2821825-C4AA-4916-8BF3-CC9879DB8AD0}" type="sibTrans" cxnId="{730DB5B7-7DDE-4C17-A497-BD1B9FBC2991}">
      <dgm:prSet/>
      <dgm:spPr/>
      <dgm:t>
        <a:bodyPr/>
        <a:lstStyle/>
        <a:p>
          <a:endParaRPr lang="en-US"/>
        </a:p>
      </dgm:t>
    </dgm:pt>
    <dgm:pt modelId="{4E6A14CE-D16B-4589-90CD-78297D7492D3}">
      <dgm:prSet custT="1"/>
      <dgm:spPr/>
      <dgm:t>
        <a:bodyPr/>
        <a:lstStyle/>
        <a:p>
          <a:r>
            <a:rPr lang="en-US" sz="2400" baseline="0" dirty="0"/>
            <a:t>Manually request a log buffer flush using the </a:t>
          </a:r>
          <a:r>
            <a:rPr lang="en-US" sz="2400" baseline="0" dirty="0" err="1"/>
            <a:t>sys.sp_flush_log</a:t>
          </a:r>
          <a:r>
            <a:rPr lang="en-US" sz="2400" baseline="0" dirty="0"/>
            <a:t> procedure</a:t>
          </a:r>
          <a:endParaRPr lang="en-US" sz="2400" dirty="0"/>
        </a:p>
      </dgm:t>
    </dgm:pt>
    <dgm:pt modelId="{3519050B-094E-41C1-BA75-B20BCAD50627}" type="parTrans" cxnId="{8F91FEA6-4FF9-469B-AF6E-BD5BDA97E903}">
      <dgm:prSet/>
      <dgm:spPr/>
      <dgm:t>
        <a:bodyPr/>
        <a:lstStyle/>
        <a:p>
          <a:endParaRPr lang="en-US"/>
        </a:p>
      </dgm:t>
    </dgm:pt>
    <dgm:pt modelId="{DBB35BCE-4C01-4E34-A282-91ED28788AC1}" type="sibTrans" cxnId="{8F91FEA6-4FF9-469B-AF6E-BD5BDA97E903}">
      <dgm:prSet/>
      <dgm:spPr/>
      <dgm:t>
        <a:bodyPr/>
        <a:lstStyle/>
        <a:p>
          <a:endParaRPr lang="en-US"/>
        </a:p>
      </dgm:t>
    </dgm:pt>
    <dgm:pt modelId="{9AB92BAE-00FE-48B7-98F0-A94F53DB542D}">
      <dgm:prSet custT="1"/>
      <dgm:spPr/>
      <dgm:t>
        <a:bodyPr/>
        <a:lstStyle/>
        <a:p>
          <a:r>
            <a:rPr lang="en-US" sz="3200" baseline="0" dirty="0"/>
            <a:t>Log buffer flushing results in a WRITELOG wait type.</a:t>
          </a:r>
          <a:endParaRPr lang="en-US" sz="3200" dirty="0"/>
        </a:p>
      </dgm:t>
    </dgm:pt>
    <dgm:pt modelId="{F71DE4A1-BF95-42BA-8178-36785FF80657}" type="parTrans" cxnId="{C6CC31DA-A95E-4B91-95F2-1C77D11B0E1F}">
      <dgm:prSet/>
      <dgm:spPr/>
      <dgm:t>
        <a:bodyPr/>
        <a:lstStyle/>
        <a:p>
          <a:endParaRPr lang="en-US"/>
        </a:p>
      </dgm:t>
    </dgm:pt>
    <dgm:pt modelId="{4D0DCD73-E2A7-4F75-843B-14C3CD1F44D1}" type="sibTrans" cxnId="{C6CC31DA-A95E-4B91-95F2-1C77D11B0E1F}">
      <dgm:prSet/>
      <dgm:spPr/>
      <dgm:t>
        <a:bodyPr/>
        <a:lstStyle/>
        <a:p>
          <a:endParaRPr lang="en-US"/>
        </a:p>
      </dgm:t>
    </dgm:pt>
    <dgm:pt modelId="{C1D1552C-6320-4BC1-860B-3DEB5F6F7969}" type="pres">
      <dgm:prSet presAssocID="{605EADFC-2FAC-4D5E-A6D5-3BC03456B58E}" presName="linear" presStyleCnt="0">
        <dgm:presLayoutVars>
          <dgm:animLvl val="lvl"/>
          <dgm:resizeHandles val="exact"/>
        </dgm:presLayoutVars>
      </dgm:prSet>
      <dgm:spPr/>
    </dgm:pt>
    <dgm:pt modelId="{BD3D046F-8B4E-4968-BA21-B8542A4D65D5}" type="pres">
      <dgm:prSet presAssocID="{175F6F73-FCFC-4DC0-AD75-ED259207FD52}" presName="parentText" presStyleLbl="node1" presStyleIdx="0" presStyleCnt="2" custLinFactNeighborY="-15438">
        <dgm:presLayoutVars>
          <dgm:chMax val="0"/>
          <dgm:bulletEnabled val="1"/>
        </dgm:presLayoutVars>
      </dgm:prSet>
      <dgm:spPr/>
    </dgm:pt>
    <dgm:pt modelId="{90C5942A-676D-4C7E-971D-5ADE5985D74D}" type="pres">
      <dgm:prSet presAssocID="{175F6F73-FCFC-4DC0-AD75-ED259207FD52}" presName="childText" presStyleLbl="revTx" presStyleIdx="0" presStyleCnt="1" custLinFactNeighborY="-21900">
        <dgm:presLayoutVars>
          <dgm:bulletEnabled val="1"/>
        </dgm:presLayoutVars>
      </dgm:prSet>
      <dgm:spPr/>
    </dgm:pt>
    <dgm:pt modelId="{D145050A-2D0A-48DE-B8EB-0A9036A8EE26}" type="pres">
      <dgm:prSet presAssocID="{9AB92BAE-00FE-48B7-98F0-A94F53DB542D}" presName="parentText" presStyleLbl="node1" presStyleIdx="1" presStyleCnt="2" custLinFactNeighborY="-13446">
        <dgm:presLayoutVars>
          <dgm:chMax val="0"/>
          <dgm:bulletEnabled val="1"/>
        </dgm:presLayoutVars>
      </dgm:prSet>
      <dgm:spPr/>
    </dgm:pt>
  </dgm:ptLst>
  <dgm:cxnLst>
    <dgm:cxn modelId="{8AD1980F-BD5D-43B0-8C5B-8F3F6CE43866}" type="presOf" srcId="{175F6F73-FCFC-4DC0-AD75-ED259207FD52}" destId="{BD3D046F-8B4E-4968-BA21-B8542A4D65D5}" srcOrd="0" destOrd="0" presId="urn:microsoft.com/office/officeart/2005/8/layout/vList2"/>
    <dgm:cxn modelId="{D311C514-B75F-4CFE-8D69-CB67DE248189}" srcId="{175F6F73-FCFC-4DC0-AD75-ED259207FD52}" destId="{F332BC46-E0CB-4A71-97F1-F186D1A527B5}" srcOrd="1" destOrd="0" parTransId="{F224F40A-8DA4-4A07-914B-718936D40C22}" sibTransId="{B680B321-C17F-4226-B07C-F2346CD3FD8D}"/>
    <dgm:cxn modelId="{6EBB531B-168F-4083-B022-86AE2DA6210B}" type="presOf" srcId="{4E6A14CE-D16B-4589-90CD-78297D7492D3}" destId="{90C5942A-676D-4C7E-971D-5ADE5985D74D}" srcOrd="0" destOrd="3" presId="urn:microsoft.com/office/officeart/2005/8/layout/vList2"/>
    <dgm:cxn modelId="{8E8B1D30-99E2-40B0-B5EE-1B11A59026D1}" srcId="{175F6F73-FCFC-4DC0-AD75-ED259207FD52}" destId="{5A3B8D5C-6FD2-4A8A-951A-EE65A7782C45}" srcOrd="0" destOrd="0" parTransId="{F3957295-B2F7-4DEF-938E-C041F411F020}" sibTransId="{EA02A364-318F-441C-866A-59DF60DFFE76}"/>
    <dgm:cxn modelId="{66D9B832-7D49-40B9-BE8F-BD085D074B8B}" type="presOf" srcId="{9AB92BAE-00FE-48B7-98F0-A94F53DB542D}" destId="{D145050A-2D0A-48DE-B8EB-0A9036A8EE26}" srcOrd="0" destOrd="0" presId="urn:microsoft.com/office/officeart/2005/8/layout/vList2"/>
    <dgm:cxn modelId="{C4A87C72-9854-4D44-B2EF-1DE1919C7C9A}" type="presOf" srcId="{5A3B8D5C-6FD2-4A8A-951A-EE65A7782C45}" destId="{90C5942A-676D-4C7E-971D-5ADE5985D74D}" srcOrd="0" destOrd="0" presId="urn:microsoft.com/office/officeart/2005/8/layout/vList2"/>
    <dgm:cxn modelId="{E7F9CC75-E738-4F4D-8AB2-5681F1C8DB72}" type="presOf" srcId="{F332BC46-E0CB-4A71-97F1-F186D1A527B5}" destId="{90C5942A-676D-4C7E-971D-5ADE5985D74D}" srcOrd="0" destOrd="1" presId="urn:microsoft.com/office/officeart/2005/8/layout/vList2"/>
    <dgm:cxn modelId="{C31C0E7B-3525-4DAA-BA3B-3553E7C9497B}" srcId="{605EADFC-2FAC-4D5E-A6D5-3BC03456B58E}" destId="{175F6F73-FCFC-4DC0-AD75-ED259207FD52}" srcOrd="0" destOrd="0" parTransId="{016FAE5A-306C-47F1-9775-927808989621}" sibTransId="{B694F62B-1755-4A2D-925A-C6F7D715882A}"/>
    <dgm:cxn modelId="{8F91FEA6-4FF9-469B-AF6E-BD5BDA97E903}" srcId="{175F6F73-FCFC-4DC0-AD75-ED259207FD52}" destId="{4E6A14CE-D16B-4589-90CD-78297D7492D3}" srcOrd="3" destOrd="0" parTransId="{3519050B-094E-41C1-BA75-B20BCAD50627}" sibTransId="{DBB35BCE-4C01-4E34-A282-91ED28788AC1}"/>
    <dgm:cxn modelId="{11DE65AD-E3A2-401F-A685-BE2971234970}" type="presOf" srcId="{605EADFC-2FAC-4D5E-A6D5-3BC03456B58E}" destId="{C1D1552C-6320-4BC1-860B-3DEB5F6F7969}" srcOrd="0" destOrd="0" presId="urn:microsoft.com/office/officeart/2005/8/layout/vList2"/>
    <dgm:cxn modelId="{1C92DAB3-CB88-490C-922F-AA2C468B43B8}" type="presOf" srcId="{098E019B-6BCE-46E9-AF83-C28DB7B2B120}" destId="{90C5942A-676D-4C7E-971D-5ADE5985D74D}" srcOrd="0" destOrd="2" presId="urn:microsoft.com/office/officeart/2005/8/layout/vList2"/>
    <dgm:cxn modelId="{730DB5B7-7DDE-4C17-A497-BD1B9FBC2991}" srcId="{175F6F73-FCFC-4DC0-AD75-ED259207FD52}" destId="{098E019B-6BCE-46E9-AF83-C28DB7B2B120}" srcOrd="2" destOrd="0" parTransId="{90121E53-C160-45FF-9FF5-2ED9851C7580}" sibTransId="{B2821825-C4AA-4916-8BF3-CC9879DB8AD0}"/>
    <dgm:cxn modelId="{C6CC31DA-A95E-4B91-95F2-1C77D11B0E1F}" srcId="{605EADFC-2FAC-4D5E-A6D5-3BC03456B58E}" destId="{9AB92BAE-00FE-48B7-98F0-A94F53DB542D}" srcOrd="1" destOrd="0" parTransId="{F71DE4A1-BF95-42BA-8178-36785FF80657}" sibTransId="{4D0DCD73-E2A7-4F75-843B-14C3CD1F44D1}"/>
    <dgm:cxn modelId="{24F715CD-22BB-4D38-B6B8-61733A2A011C}" type="presParOf" srcId="{C1D1552C-6320-4BC1-860B-3DEB5F6F7969}" destId="{BD3D046F-8B4E-4968-BA21-B8542A4D65D5}" srcOrd="0" destOrd="0" presId="urn:microsoft.com/office/officeart/2005/8/layout/vList2"/>
    <dgm:cxn modelId="{84E5DEAD-0333-4EA4-BC31-F648445B15A3}" type="presParOf" srcId="{C1D1552C-6320-4BC1-860B-3DEB5F6F7969}" destId="{90C5942A-676D-4C7E-971D-5ADE5985D74D}" srcOrd="1" destOrd="0" presId="urn:microsoft.com/office/officeart/2005/8/layout/vList2"/>
    <dgm:cxn modelId="{887F53D1-CF50-4524-818C-1FD6221C9A16}" type="presParOf" srcId="{C1D1552C-6320-4BC1-860B-3DEB5F6F7969}" destId="{D145050A-2D0A-48DE-B8EB-0A9036A8EE26}"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56040105-1E92-4AB6-BB5C-3C4E7EC3631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F464C63-4435-4BD9-8BC4-6FF8EE571A22}">
      <dgm:prSet phldrT="[Text]" custT="1"/>
      <dgm:spPr/>
      <dgm:t>
        <a:bodyPr/>
        <a:lstStyle/>
        <a:p>
          <a:r>
            <a:rPr lang="en-US" sz="2400"/>
            <a:t>Stores 8 kilobytes (KB) pages of data to avoid repeated disk I/O.</a:t>
          </a:r>
          <a:endParaRPr lang="en-US" sz="2400" dirty="0"/>
        </a:p>
      </dgm:t>
    </dgm:pt>
    <dgm:pt modelId="{19308289-4E4E-4B5B-95A8-8C099CE2E876}" type="parTrans" cxnId="{BF640412-4851-42E3-96FC-D39337C2D935}">
      <dgm:prSet/>
      <dgm:spPr/>
      <dgm:t>
        <a:bodyPr/>
        <a:lstStyle/>
        <a:p>
          <a:endParaRPr lang="en-US"/>
        </a:p>
      </dgm:t>
    </dgm:pt>
    <dgm:pt modelId="{EE731859-F98E-4AC0-B65B-10DAAE071F54}" type="sibTrans" cxnId="{BF640412-4851-42E3-96FC-D39337C2D935}">
      <dgm:prSet/>
      <dgm:spPr/>
      <dgm:t>
        <a:bodyPr/>
        <a:lstStyle/>
        <a:p>
          <a:endParaRPr lang="en-US"/>
        </a:p>
      </dgm:t>
    </dgm:pt>
    <dgm:pt modelId="{67E17738-299F-4FD5-83A3-C7B1C8E6B2C5}">
      <dgm:prSet phldrT="[Text]" custT="1"/>
      <dgm:spPr/>
      <dgm:t>
        <a:bodyPr/>
        <a:lstStyle/>
        <a:p>
          <a:r>
            <a:rPr lang="en-US" sz="2400"/>
            <a:t>Pages held in the buffer until the space is needed by something else.</a:t>
          </a:r>
          <a:endParaRPr lang="en-US" sz="2400" dirty="0"/>
        </a:p>
      </dgm:t>
    </dgm:pt>
    <dgm:pt modelId="{99E992C1-87A1-463C-8807-ECFE2ADA73FF}" type="parTrans" cxnId="{4B0CA908-C5A1-4896-9A5B-F679016F67D6}">
      <dgm:prSet/>
      <dgm:spPr/>
      <dgm:t>
        <a:bodyPr/>
        <a:lstStyle/>
        <a:p>
          <a:endParaRPr lang="en-US"/>
        </a:p>
      </dgm:t>
    </dgm:pt>
    <dgm:pt modelId="{AAA0D5D7-8ED2-4B87-ADB1-D44B93C98229}" type="sibTrans" cxnId="{4B0CA908-C5A1-4896-9A5B-F679016F67D6}">
      <dgm:prSet/>
      <dgm:spPr/>
      <dgm:t>
        <a:bodyPr/>
        <a:lstStyle/>
        <a:p>
          <a:endParaRPr lang="en-US"/>
        </a:p>
      </dgm:t>
    </dgm:pt>
    <dgm:pt modelId="{AADD6B1B-92A4-446B-84B1-B0C734E955D2}">
      <dgm:prSet phldrT="[Text]" custT="1"/>
      <dgm:spPr/>
      <dgm:t>
        <a:bodyPr/>
        <a:lstStyle/>
        <a:p>
          <a:r>
            <a:rPr lang="en-US" sz="2400" dirty="0"/>
            <a:t>Lazy Writer searches for eligible buffers.</a:t>
          </a:r>
        </a:p>
      </dgm:t>
    </dgm:pt>
    <dgm:pt modelId="{18E0E943-6484-4C97-842A-8A16F82E89C8}" type="parTrans" cxnId="{17EC358D-B099-4CEE-B916-679D6CDEC914}">
      <dgm:prSet/>
      <dgm:spPr/>
      <dgm:t>
        <a:bodyPr/>
        <a:lstStyle/>
        <a:p>
          <a:endParaRPr lang="en-US"/>
        </a:p>
      </dgm:t>
    </dgm:pt>
    <dgm:pt modelId="{CB03AA14-A9EF-4741-A0B4-CB24A730B870}" type="sibTrans" cxnId="{17EC358D-B099-4CEE-B916-679D6CDEC914}">
      <dgm:prSet/>
      <dgm:spPr/>
      <dgm:t>
        <a:bodyPr/>
        <a:lstStyle/>
        <a:p>
          <a:endParaRPr lang="en-US"/>
        </a:p>
      </dgm:t>
    </dgm:pt>
    <dgm:pt modelId="{F96BD1CD-A516-4C87-A961-EF4E45DAE639}">
      <dgm:prSet phldrT="[Text]" custT="1"/>
      <dgm:spPr/>
      <dgm:t>
        <a:bodyPr/>
        <a:lstStyle/>
        <a:p>
          <a:r>
            <a:rPr lang="en-US" sz="2400" dirty="0"/>
            <a:t>If the buffer is dirty, an asynchronous write (lazy write) is posted so that the buffer can later be freed.</a:t>
          </a:r>
        </a:p>
      </dgm:t>
    </dgm:pt>
    <dgm:pt modelId="{0E32A75C-A249-43AB-8AF3-5FB533E591C9}" type="parTrans" cxnId="{A391CB16-A64C-439A-80E6-13E3800832DF}">
      <dgm:prSet/>
      <dgm:spPr/>
      <dgm:t>
        <a:bodyPr/>
        <a:lstStyle/>
        <a:p>
          <a:endParaRPr lang="en-US"/>
        </a:p>
      </dgm:t>
    </dgm:pt>
    <dgm:pt modelId="{0BF20044-B1B3-4DB0-A7AB-5C40649EE601}" type="sibTrans" cxnId="{A391CB16-A64C-439A-80E6-13E3800832DF}">
      <dgm:prSet/>
      <dgm:spPr/>
      <dgm:t>
        <a:bodyPr/>
        <a:lstStyle/>
        <a:p>
          <a:endParaRPr lang="en-US"/>
        </a:p>
      </dgm:t>
    </dgm:pt>
    <dgm:pt modelId="{821ED3F8-05FB-4161-989E-A5073C719AA8}">
      <dgm:prSet phldrT="[Text]" custT="1"/>
      <dgm:spPr/>
      <dgm:t>
        <a:bodyPr/>
        <a:lstStyle/>
        <a:p>
          <a:r>
            <a:rPr lang="en-US" sz="2400" dirty="0"/>
            <a:t>If the buffer is not dirty, it is freed.</a:t>
          </a:r>
        </a:p>
      </dgm:t>
    </dgm:pt>
    <dgm:pt modelId="{B50F9A41-0B7C-4C9A-9861-71BC952B7820}" type="parTrans" cxnId="{A9D1EC4A-0943-48FD-86B0-B51673DAA92D}">
      <dgm:prSet/>
      <dgm:spPr/>
      <dgm:t>
        <a:bodyPr/>
        <a:lstStyle/>
        <a:p>
          <a:endParaRPr lang="en-US"/>
        </a:p>
      </dgm:t>
    </dgm:pt>
    <dgm:pt modelId="{57CB635D-D1A1-47A3-A56E-45160AB8002B}" type="sibTrans" cxnId="{A9D1EC4A-0943-48FD-86B0-B51673DAA92D}">
      <dgm:prSet/>
      <dgm:spPr/>
      <dgm:t>
        <a:bodyPr/>
        <a:lstStyle/>
        <a:p>
          <a:endParaRPr lang="en-US"/>
        </a:p>
      </dgm:t>
    </dgm:pt>
    <dgm:pt modelId="{DDF3A48C-9044-4623-9CDC-0F23F895C60C}" type="pres">
      <dgm:prSet presAssocID="{56040105-1E92-4AB6-BB5C-3C4E7EC36311}" presName="linear" presStyleCnt="0">
        <dgm:presLayoutVars>
          <dgm:animLvl val="lvl"/>
          <dgm:resizeHandles val="exact"/>
        </dgm:presLayoutVars>
      </dgm:prSet>
      <dgm:spPr/>
    </dgm:pt>
    <dgm:pt modelId="{AAE66C88-09DA-40B7-823E-7E7CC6D7DE8E}" type="pres">
      <dgm:prSet presAssocID="{0F464C63-4435-4BD9-8BC4-6FF8EE571A22}" presName="parentText" presStyleLbl="node1" presStyleIdx="0" presStyleCnt="2">
        <dgm:presLayoutVars>
          <dgm:chMax val="0"/>
          <dgm:bulletEnabled val="1"/>
        </dgm:presLayoutVars>
      </dgm:prSet>
      <dgm:spPr/>
    </dgm:pt>
    <dgm:pt modelId="{243A05DC-3C79-4F85-8091-E770D7B8BE1C}" type="pres">
      <dgm:prSet presAssocID="{0F464C63-4435-4BD9-8BC4-6FF8EE571A22}" presName="childText" presStyleLbl="revTx" presStyleIdx="0" presStyleCnt="2">
        <dgm:presLayoutVars>
          <dgm:bulletEnabled val="1"/>
        </dgm:presLayoutVars>
      </dgm:prSet>
      <dgm:spPr/>
    </dgm:pt>
    <dgm:pt modelId="{8A8E48AC-E044-4373-91C2-A5EBBB4E8D5D}" type="pres">
      <dgm:prSet presAssocID="{AADD6B1B-92A4-446B-84B1-B0C734E955D2}" presName="parentText" presStyleLbl="node1" presStyleIdx="1" presStyleCnt="2">
        <dgm:presLayoutVars>
          <dgm:chMax val="0"/>
          <dgm:bulletEnabled val="1"/>
        </dgm:presLayoutVars>
      </dgm:prSet>
      <dgm:spPr/>
    </dgm:pt>
    <dgm:pt modelId="{D9796843-2685-4002-815D-6B4869E1BB94}" type="pres">
      <dgm:prSet presAssocID="{AADD6B1B-92A4-446B-84B1-B0C734E955D2}" presName="childText" presStyleLbl="revTx" presStyleIdx="1" presStyleCnt="2">
        <dgm:presLayoutVars>
          <dgm:bulletEnabled val="1"/>
        </dgm:presLayoutVars>
      </dgm:prSet>
      <dgm:spPr/>
    </dgm:pt>
  </dgm:ptLst>
  <dgm:cxnLst>
    <dgm:cxn modelId="{4B0CA908-C5A1-4896-9A5B-F679016F67D6}" srcId="{0F464C63-4435-4BD9-8BC4-6FF8EE571A22}" destId="{67E17738-299F-4FD5-83A3-C7B1C8E6B2C5}" srcOrd="0" destOrd="0" parTransId="{99E992C1-87A1-463C-8807-ECFE2ADA73FF}" sibTransId="{AAA0D5D7-8ED2-4B87-ADB1-D44B93C98229}"/>
    <dgm:cxn modelId="{BF640412-4851-42E3-96FC-D39337C2D935}" srcId="{56040105-1E92-4AB6-BB5C-3C4E7EC36311}" destId="{0F464C63-4435-4BD9-8BC4-6FF8EE571A22}" srcOrd="0" destOrd="0" parTransId="{19308289-4E4E-4B5B-95A8-8C099CE2E876}" sibTransId="{EE731859-F98E-4AC0-B65B-10DAAE071F54}"/>
    <dgm:cxn modelId="{A391CB16-A64C-439A-80E6-13E3800832DF}" srcId="{AADD6B1B-92A4-446B-84B1-B0C734E955D2}" destId="{F96BD1CD-A516-4C87-A961-EF4E45DAE639}" srcOrd="0" destOrd="0" parTransId="{0E32A75C-A249-43AB-8AF3-5FB533E591C9}" sibTransId="{0BF20044-B1B3-4DB0-A7AB-5C40649EE601}"/>
    <dgm:cxn modelId="{3DC8395B-D9FB-4DD2-8F77-7A889AF4AADF}" type="presOf" srcId="{67E17738-299F-4FD5-83A3-C7B1C8E6B2C5}" destId="{243A05DC-3C79-4F85-8091-E770D7B8BE1C}" srcOrd="0" destOrd="0" presId="urn:microsoft.com/office/officeart/2005/8/layout/vList2"/>
    <dgm:cxn modelId="{A9D1EC4A-0943-48FD-86B0-B51673DAA92D}" srcId="{AADD6B1B-92A4-446B-84B1-B0C734E955D2}" destId="{821ED3F8-05FB-4161-989E-A5073C719AA8}" srcOrd="1" destOrd="0" parTransId="{B50F9A41-0B7C-4C9A-9861-71BC952B7820}" sibTransId="{57CB635D-D1A1-47A3-A56E-45160AB8002B}"/>
    <dgm:cxn modelId="{2556426F-8645-4D00-90FD-A9750614858C}" type="presOf" srcId="{821ED3F8-05FB-4161-989E-A5073C719AA8}" destId="{D9796843-2685-4002-815D-6B4869E1BB94}" srcOrd="0" destOrd="1" presId="urn:microsoft.com/office/officeart/2005/8/layout/vList2"/>
    <dgm:cxn modelId="{17EC358D-B099-4CEE-B916-679D6CDEC914}" srcId="{56040105-1E92-4AB6-BB5C-3C4E7EC36311}" destId="{AADD6B1B-92A4-446B-84B1-B0C734E955D2}" srcOrd="1" destOrd="0" parTransId="{18E0E943-6484-4C97-842A-8A16F82E89C8}" sibTransId="{CB03AA14-A9EF-4741-A0B4-CB24A730B870}"/>
    <dgm:cxn modelId="{EBE5D091-8C65-4C2F-B304-B55C9A6948DA}" type="presOf" srcId="{F96BD1CD-A516-4C87-A961-EF4E45DAE639}" destId="{D9796843-2685-4002-815D-6B4869E1BB94}" srcOrd="0" destOrd="0" presId="urn:microsoft.com/office/officeart/2005/8/layout/vList2"/>
    <dgm:cxn modelId="{9B26F8A3-336E-43D5-BD5E-17BCDEFF4B4A}" type="presOf" srcId="{AADD6B1B-92A4-446B-84B1-B0C734E955D2}" destId="{8A8E48AC-E044-4373-91C2-A5EBBB4E8D5D}" srcOrd="0" destOrd="0" presId="urn:microsoft.com/office/officeart/2005/8/layout/vList2"/>
    <dgm:cxn modelId="{22696FEC-5C34-482A-A30B-04FE55D86FF2}" type="presOf" srcId="{56040105-1E92-4AB6-BB5C-3C4E7EC36311}" destId="{DDF3A48C-9044-4623-9CDC-0F23F895C60C}" srcOrd="0" destOrd="0" presId="urn:microsoft.com/office/officeart/2005/8/layout/vList2"/>
    <dgm:cxn modelId="{29559FF1-6A81-4F72-8B56-D683DE35F12B}" type="presOf" srcId="{0F464C63-4435-4BD9-8BC4-6FF8EE571A22}" destId="{AAE66C88-09DA-40B7-823E-7E7CC6D7DE8E}" srcOrd="0" destOrd="0" presId="urn:microsoft.com/office/officeart/2005/8/layout/vList2"/>
    <dgm:cxn modelId="{81ED60A1-122F-4799-8791-37E21D06D28B}" type="presParOf" srcId="{DDF3A48C-9044-4623-9CDC-0F23F895C60C}" destId="{AAE66C88-09DA-40B7-823E-7E7CC6D7DE8E}" srcOrd="0" destOrd="0" presId="urn:microsoft.com/office/officeart/2005/8/layout/vList2"/>
    <dgm:cxn modelId="{EDDF6EA8-1AB5-4B4D-BFDE-33F5358383A4}" type="presParOf" srcId="{DDF3A48C-9044-4623-9CDC-0F23F895C60C}" destId="{243A05DC-3C79-4F85-8091-E770D7B8BE1C}" srcOrd="1" destOrd="0" presId="urn:microsoft.com/office/officeart/2005/8/layout/vList2"/>
    <dgm:cxn modelId="{C56A4E03-EA3D-4993-A3FD-11E2CCD2A4D2}" type="presParOf" srcId="{DDF3A48C-9044-4623-9CDC-0F23F895C60C}" destId="{8A8E48AC-E044-4373-91C2-A5EBBB4E8D5D}" srcOrd="2" destOrd="0" presId="urn:microsoft.com/office/officeart/2005/8/layout/vList2"/>
    <dgm:cxn modelId="{FE80356A-B135-4155-8341-301CCF192171}" type="presParOf" srcId="{DDF3A48C-9044-4623-9CDC-0F23F895C60C}" destId="{D9796843-2685-4002-815D-6B4869E1BB94}"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AB35A029-B5B0-469E-AB39-8CABD215B099}" type="doc">
      <dgm:prSet loTypeId="urn:microsoft.com/office/officeart/2005/8/layout/equation1" loCatId="process" qsTypeId="urn:microsoft.com/office/officeart/2005/8/quickstyle/simple1" qsCatId="simple" csTypeId="urn:microsoft.com/office/officeart/2005/8/colors/accent0_3" csCatId="mainScheme" phldr="1"/>
      <dgm:spPr/>
    </dgm:pt>
    <dgm:pt modelId="{D314815A-C099-4DFC-A019-7E3BC830CA88}">
      <dgm:prSet phldrT="[Text]"/>
      <dgm:spPr/>
      <dgm:t>
        <a:bodyPr/>
        <a:lstStyle/>
        <a:p>
          <a:r>
            <a:rPr lang="en-US">
              <a:latin typeface="Segoe UI Light" panose="020B0502040204020203" pitchFamily="34" charset="0"/>
              <a:cs typeface="Segoe UI Light" panose="020B0502040204020203" pitchFamily="34" charset="0"/>
            </a:rPr>
            <a:t>CPU Time (RUNNING)</a:t>
          </a:r>
          <a:endParaRPr lang="pt-PT">
            <a:latin typeface="Segoe UI Light" panose="020B0502040204020203" pitchFamily="34" charset="0"/>
            <a:cs typeface="Segoe UI Light" panose="020B0502040204020203" pitchFamily="34" charset="0"/>
          </a:endParaRPr>
        </a:p>
      </dgm:t>
    </dgm:pt>
    <dgm:pt modelId="{056B3F22-BF06-463C-95F0-406A106E0349}" type="parTrans" cxnId="{5E136964-2FFF-4A2C-A414-BD39E9C6601F}">
      <dgm:prSet/>
      <dgm:spPr/>
      <dgm:t>
        <a:bodyPr/>
        <a:lstStyle/>
        <a:p>
          <a:endParaRPr lang="pt-PT">
            <a:latin typeface="Segoe UI Light" panose="020B0502040204020203" pitchFamily="34" charset="0"/>
            <a:cs typeface="Segoe UI Light" panose="020B0502040204020203" pitchFamily="34" charset="0"/>
          </a:endParaRPr>
        </a:p>
      </dgm:t>
    </dgm:pt>
    <dgm:pt modelId="{70E3976A-575C-446D-8AAD-C4187B931A0A}" type="sibTrans" cxnId="{5E136964-2FFF-4A2C-A414-BD39E9C6601F}">
      <dgm:prSet/>
      <dgm:spPr/>
      <dgm:t>
        <a:bodyPr/>
        <a:lstStyle/>
        <a:p>
          <a:endParaRPr lang="pt-PT">
            <a:latin typeface="Segoe UI Light" panose="020B0502040204020203" pitchFamily="34" charset="0"/>
            <a:cs typeface="Segoe UI Light" panose="020B0502040204020203" pitchFamily="34" charset="0"/>
          </a:endParaRPr>
        </a:p>
      </dgm:t>
    </dgm:pt>
    <dgm:pt modelId="{6E821775-9F97-4722-9828-9CC231903B07}">
      <dgm:prSet phldrT="[Text]"/>
      <dgm:spPr/>
      <dgm:t>
        <a:bodyPr/>
        <a:lstStyle/>
        <a:p>
          <a:r>
            <a:rPr lang="pt-PT">
              <a:latin typeface="Segoe UI Light" panose="020B0502040204020203" pitchFamily="34" charset="0"/>
              <a:cs typeface="Segoe UI Light" panose="020B0502040204020203" pitchFamily="34" charset="0"/>
            </a:rPr>
            <a:t>Total Query Response Time</a:t>
          </a:r>
        </a:p>
      </dgm:t>
    </dgm:pt>
    <dgm:pt modelId="{70E05511-033F-4232-BE52-4C289F8A5EA0}" type="parTrans" cxnId="{F2502EE9-274F-413F-B879-47B13BEBDA79}">
      <dgm:prSet/>
      <dgm:spPr/>
      <dgm:t>
        <a:bodyPr/>
        <a:lstStyle/>
        <a:p>
          <a:endParaRPr lang="pt-PT">
            <a:latin typeface="Segoe UI Light" panose="020B0502040204020203" pitchFamily="34" charset="0"/>
            <a:cs typeface="Segoe UI Light" panose="020B0502040204020203" pitchFamily="34" charset="0"/>
          </a:endParaRPr>
        </a:p>
      </dgm:t>
    </dgm:pt>
    <dgm:pt modelId="{02FF7F3D-563E-4DBF-AE63-33ECBE6EA5AC}" type="sibTrans" cxnId="{F2502EE9-274F-413F-B879-47B13BEBDA79}">
      <dgm:prSet/>
      <dgm:spPr/>
      <dgm:t>
        <a:bodyPr/>
        <a:lstStyle/>
        <a:p>
          <a:endParaRPr lang="pt-PT">
            <a:latin typeface="Segoe UI Light" panose="020B0502040204020203" pitchFamily="34" charset="0"/>
            <a:cs typeface="Segoe UI Light" panose="020B0502040204020203" pitchFamily="34" charset="0"/>
          </a:endParaRPr>
        </a:p>
      </dgm:t>
    </dgm:pt>
    <dgm:pt modelId="{C93C4C6A-9402-45DE-A18A-BD144BF404B8}">
      <dgm:prSet phldrT="[Text]"/>
      <dgm:spPr/>
      <dgm:t>
        <a:bodyPr/>
        <a:lstStyle/>
        <a:p>
          <a:r>
            <a:rPr lang="en-US">
              <a:latin typeface="Segoe UI Light" panose="020B0502040204020203" pitchFamily="34" charset="0"/>
              <a:cs typeface="Segoe UI Light" panose="020B0502040204020203" pitchFamily="34" charset="0"/>
            </a:rPr>
            <a:t>Signal Wait Time (RUNNABLE)</a:t>
          </a:r>
          <a:endParaRPr lang="pt-PT">
            <a:latin typeface="Segoe UI Light" panose="020B0502040204020203" pitchFamily="34" charset="0"/>
            <a:cs typeface="Segoe UI Light" panose="020B0502040204020203" pitchFamily="34" charset="0"/>
          </a:endParaRPr>
        </a:p>
      </dgm:t>
    </dgm:pt>
    <dgm:pt modelId="{9867C768-687D-49C5-8400-7BEA31BCCD3A}" type="parTrans" cxnId="{381C370D-F00E-4779-81FC-0A5A6E898B01}">
      <dgm:prSet/>
      <dgm:spPr/>
      <dgm:t>
        <a:bodyPr/>
        <a:lstStyle/>
        <a:p>
          <a:endParaRPr lang="en-US"/>
        </a:p>
      </dgm:t>
    </dgm:pt>
    <dgm:pt modelId="{5A623CA4-550C-412F-9EF6-B065066EAABF}" type="sibTrans" cxnId="{381C370D-F00E-4779-81FC-0A5A6E898B01}">
      <dgm:prSet/>
      <dgm:spPr/>
      <dgm:t>
        <a:bodyPr/>
        <a:lstStyle/>
        <a:p>
          <a:endParaRPr lang="en-US"/>
        </a:p>
      </dgm:t>
    </dgm:pt>
    <dgm:pt modelId="{0781EDC9-B2A9-4D17-894E-C2B369D4771A}">
      <dgm:prSet phldrT="[Text]"/>
      <dgm:spPr/>
      <dgm:t>
        <a:bodyPr/>
        <a:lstStyle/>
        <a:p>
          <a:r>
            <a:rPr lang="en-US">
              <a:latin typeface="Segoe UI Light" panose="020B0502040204020203" pitchFamily="34" charset="0"/>
              <a:cs typeface="Segoe UI Light" panose="020B0502040204020203" pitchFamily="34" charset="0"/>
            </a:rPr>
            <a:t>Resource Wait Time (SUSPENDED)</a:t>
          </a:r>
          <a:endParaRPr lang="pt-PT">
            <a:latin typeface="Segoe UI Light" panose="020B0502040204020203" pitchFamily="34" charset="0"/>
            <a:cs typeface="Segoe UI Light" panose="020B0502040204020203" pitchFamily="34" charset="0"/>
          </a:endParaRPr>
        </a:p>
      </dgm:t>
    </dgm:pt>
    <dgm:pt modelId="{3E93F19D-2AA0-4533-B428-8E7AB7F767B3}" type="parTrans" cxnId="{C8E38A1A-F592-4925-A43C-FB1FF9AD2ED5}">
      <dgm:prSet/>
      <dgm:spPr/>
      <dgm:t>
        <a:bodyPr/>
        <a:lstStyle/>
        <a:p>
          <a:endParaRPr lang="en-US"/>
        </a:p>
      </dgm:t>
    </dgm:pt>
    <dgm:pt modelId="{D81E2ED9-E419-4AB8-8B97-711DDB59EB55}" type="sibTrans" cxnId="{C8E38A1A-F592-4925-A43C-FB1FF9AD2ED5}">
      <dgm:prSet/>
      <dgm:spPr/>
      <dgm:t>
        <a:bodyPr/>
        <a:lstStyle/>
        <a:p>
          <a:endParaRPr lang="en-US"/>
        </a:p>
      </dgm:t>
    </dgm:pt>
    <dgm:pt modelId="{263D1411-8B94-4BD3-86FE-2A81E0FA527D}" type="pres">
      <dgm:prSet presAssocID="{AB35A029-B5B0-469E-AB39-8CABD215B099}" presName="linearFlow" presStyleCnt="0">
        <dgm:presLayoutVars>
          <dgm:dir/>
          <dgm:resizeHandles val="exact"/>
        </dgm:presLayoutVars>
      </dgm:prSet>
      <dgm:spPr/>
    </dgm:pt>
    <dgm:pt modelId="{F0F50DC7-A385-4C3D-85E8-5A190CB72709}" type="pres">
      <dgm:prSet presAssocID="{D314815A-C099-4DFC-A019-7E3BC830CA88}" presName="node" presStyleLbl="node1" presStyleIdx="0" presStyleCnt="4">
        <dgm:presLayoutVars>
          <dgm:bulletEnabled val="1"/>
        </dgm:presLayoutVars>
      </dgm:prSet>
      <dgm:spPr/>
    </dgm:pt>
    <dgm:pt modelId="{9D909C93-961C-4D42-A56F-573BF303D3EB}" type="pres">
      <dgm:prSet presAssocID="{70E3976A-575C-446D-8AAD-C4187B931A0A}" presName="spacerL" presStyleCnt="0"/>
      <dgm:spPr/>
    </dgm:pt>
    <dgm:pt modelId="{6673E2C0-687C-4813-9CDF-C1D7AB877466}" type="pres">
      <dgm:prSet presAssocID="{70E3976A-575C-446D-8AAD-C4187B931A0A}" presName="sibTrans" presStyleLbl="sibTrans2D1" presStyleIdx="0" presStyleCnt="3"/>
      <dgm:spPr/>
    </dgm:pt>
    <dgm:pt modelId="{AAD7898C-5FD6-4578-A749-1FC8705C0B87}" type="pres">
      <dgm:prSet presAssocID="{70E3976A-575C-446D-8AAD-C4187B931A0A}" presName="spacerR" presStyleCnt="0"/>
      <dgm:spPr/>
    </dgm:pt>
    <dgm:pt modelId="{10CBBA21-79EB-41F6-B412-F391EAA0507A}" type="pres">
      <dgm:prSet presAssocID="{C93C4C6A-9402-45DE-A18A-BD144BF404B8}" presName="node" presStyleLbl="node1" presStyleIdx="1" presStyleCnt="4">
        <dgm:presLayoutVars>
          <dgm:bulletEnabled val="1"/>
        </dgm:presLayoutVars>
      </dgm:prSet>
      <dgm:spPr/>
    </dgm:pt>
    <dgm:pt modelId="{7DF48E54-3BD7-422B-B7D0-B15DBFC5ACB4}" type="pres">
      <dgm:prSet presAssocID="{5A623CA4-550C-412F-9EF6-B065066EAABF}" presName="spacerL" presStyleCnt="0"/>
      <dgm:spPr/>
    </dgm:pt>
    <dgm:pt modelId="{8B0DDA86-1B95-48DA-B6BA-3D7A249A161A}" type="pres">
      <dgm:prSet presAssocID="{5A623CA4-550C-412F-9EF6-B065066EAABF}" presName="sibTrans" presStyleLbl="sibTrans2D1" presStyleIdx="1" presStyleCnt="3"/>
      <dgm:spPr/>
    </dgm:pt>
    <dgm:pt modelId="{A6376049-2292-4B32-ABDC-EAF619E7D27C}" type="pres">
      <dgm:prSet presAssocID="{5A623CA4-550C-412F-9EF6-B065066EAABF}" presName="spacerR" presStyleCnt="0"/>
      <dgm:spPr/>
    </dgm:pt>
    <dgm:pt modelId="{8654DA70-295E-47B4-95D9-098230C9A89A}" type="pres">
      <dgm:prSet presAssocID="{0781EDC9-B2A9-4D17-894E-C2B369D4771A}" presName="node" presStyleLbl="node1" presStyleIdx="2" presStyleCnt="4">
        <dgm:presLayoutVars>
          <dgm:bulletEnabled val="1"/>
        </dgm:presLayoutVars>
      </dgm:prSet>
      <dgm:spPr/>
    </dgm:pt>
    <dgm:pt modelId="{D46D89DA-5BE8-4685-940C-3D53E21A4601}" type="pres">
      <dgm:prSet presAssocID="{D81E2ED9-E419-4AB8-8B97-711DDB59EB55}" presName="spacerL" presStyleCnt="0"/>
      <dgm:spPr/>
    </dgm:pt>
    <dgm:pt modelId="{46BABBF9-D006-443D-8111-5C6F404BF7AA}" type="pres">
      <dgm:prSet presAssocID="{D81E2ED9-E419-4AB8-8B97-711DDB59EB55}" presName="sibTrans" presStyleLbl="sibTrans2D1" presStyleIdx="2" presStyleCnt="3"/>
      <dgm:spPr/>
    </dgm:pt>
    <dgm:pt modelId="{79E14D49-221A-4119-A0CA-7F054AC847A2}" type="pres">
      <dgm:prSet presAssocID="{D81E2ED9-E419-4AB8-8B97-711DDB59EB55}" presName="spacerR" presStyleCnt="0"/>
      <dgm:spPr/>
    </dgm:pt>
    <dgm:pt modelId="{1E63E032-A34B-40F9-9996-7094989E1D20}" type="pres">
      <dgm:prSet presAssocID="{6E821775-9F97-4722-9828-9CC231903B07}" presName="node" presStyleLbl="node1" presStyleIdx="3" presStyleCnt="4">
        <dgm:presLayoutVars>
          <dgm:bulletEnabled val="1"/>
        </dgm:presLayoutVars>
      </dgm:prSet>
      <dgm:spPr/>
    </dgm:pt>
  </dgm:ptLst>
  <dgm:cxnLst>
    <dgm:cxn modelId="{CB007802-C416-40F2-A17B-4CCB9AEF29D2}" type="presOf" srcId="{AB35A029-B5B0-469E-AB39-8CABD215B099}" destId="{263D1411-8B94-4BD3-86FE-2A81E0FA527D}" srcOrd="0" destOrd="0" presId="urn:microsoft.com/office/officeart/2005/8/layout/equation1"/>
    <dgm:cxn modelId="{A6671A06-22E0-4CD8-800E-85E5983261AC}" type="presOf" srcId="{70E3976A-575C-446D-8AAD-C4187B931A0A}" destId="{6673E2C0-687C-4813-9CDF-C1D7AB877466}" srcOrd="0" destOrd="0" presId="urn:microsoft.com/office/officeart/2005/8/layout/equation1"/>
    <dgm:cxn modelId="{381C370D-F00E-4779-81FC-0A5A6E898B01}" srcId="{AB35A029-B5B0-469E-AB39-8CABD215B099}" destId="{C93C4C6A-9402-45DE-A18A-BD144BF404B8}" srcOrd="1" destOrd="0" parTransId="{9867C768-687D-49C5-8400-7BEA31BCCD3A}" sibTransId="{5A623CA4-550C-412F-9EF6-B065066EAABF}"/>
    <dgm:cxn modelId="{ACD5B518-8214-4ACE-92F5-2106E579D1B7}" type="presOf" srcId="{5A623CA4-550C-412F-9EF6-B065066EAABF}" destId="{8B0DDA86-1B95-48DA-B6BA-3D7A249A161A}" srcOrd="0" destOrd="0" presId="urn:microsoft.com/office/officeart/2005/8/layout/equation1"/>
    <dgm:cxn modelId="{C8E38A1A-F592-4925-A43C-FB1FF9AD2ED5}" srcId="{AB35A029-B5B0-469E-AB39-8CABD215B099}" destId="{0781EDC9-B2A9-4D17-894E-C2B369D4771A}" srcOrd="2" destOrd="0" parTransId="{3E93F19D-2AA0-4533-B428-8E7AB7F767B3}" sibTransId="{D81E2ED9-E419-4AB8-8B97-711DDB59EB55}"/>
    <dgm:cxn modelId="{F2A91F1F-1368-465A-8C77-0525252E7408}" type="presOf" srcId="{0781EDC9-B2A9-4D17-894E-C2B369D4771A}" destId="{8654DA70-295E-47B4-95D9-098230C9A89A}" srcOrd="0" destOrd="0" presId="urn:microsoft.com/office/officeart/2005/8/layout/equation1"/>
    <dgm:cxn modelId="{21A20A61-6861-48D7-8C53-F96CA262C5BC}" type="presOf" srcId="{D81E2ED9-E419-4AB8-8B97-711DDB59EB55}" destId="{46BABBF9-D006-443D-8111-5C6F404BF7AA}" srcOrd="0" destOrd="0" presId="urn:microsoft.com/office/officeart/2005/8/layout/equation1"/>
    <dgm:cxn modelId="{A1FC5263-6F79-4A71-8D7B-91C3CC177824}" type="presOf" srcId="{D314815A-C099-4DFC-A019-7E3BC830CA88}" destId="{F0F50DC7-A385-4C3D-85E8-5A190CB72709}" srcOrd="0" destOrd="0" presId="urn:microsoft.com/office/officeart/2005/8/layout/equation1"/>
    <dgm:cxn modelId="{5E136964-2FFF-4A2C-A414-BD39E9C6601F}" srcId="{AB35A029-B5B0-469E-AB39-8CABD215B099}" destId="{D314815A-C099-4DFC-A019-7E3BC830CA88}" srcOrd="0" destOrd="0" parTransId="{056B3F22-BF06-463C-95F0-406A106E0349}" sibTransId="{70E3976A-575C-446D-8AAD-C4187B931A0A}"/>
    <dgm:cxn modelId="{015833A1-A4D1-454A-BFEB-712BE11827AA}" type="presOf" srcId="{C93C4C6A-9402-45DE-A18A-BD144BF404B8}" destId="{10CBBA21-79EB-41F6-B412-F391EAA0507A}" srcOrd="0" destOrd="0" presId="urn:microsoft.com/office/officeart/2005/8/layout/equation1"/>
    <dgm:cxn modelId="{FF09D0E2-2736-43F0-B1F6-2E79A86D1560}" type="presOf" srcId="{6E821775-9F97-4722-9828-9CC231903B07}" destId="{1E63E032-A34B-40F9-9996-7094989E1D20}" srcOrd="0" destOrd="0" presId="urn:microsoft.com/office/officeart/2005/8/layout/equation1"/>
    <dgm:cxn modelId="{F2502EE9-274F-413F-B879-47B13BEBDA79}" srcId="{AB35A029-B5B0-469E-AB39-8CABD215B099}" destId="{6E821775-9F97-4722-9828-9CC231903B07}" srcOrd="3" destOrd="0" parTransId="{70E05511-033F-4232-BE52-4C289F8A5EA0}" sibTransId="{02FF7F3D-563E-4DBF-AE63-33ECBE6EA5AC}"/>
    <dgm:cxn modelId="{7F2D2C44-CB2B-4048-BDF4-EF71EFD2069C}" type="presParOf" srcId="{263D1411-8B94-4BD3-86FE-2A81E0FA527D}" destId="{F0F50DC7-A385-4C3D-85E8-5A190CB72709}" srcOrd="0" destOrd="0" presId="urn:microsoft.com/office/officeart/2005/8/layout/equation1"/>
    <dgm:cxn modelId="{103E8CCA-F962-450E-A304-762A4334EC6D}" type="presParOf" srcId="{263D1411-8B94-4BD3-86FE-2A81E0FA527D}" destId="{9D909C93-961C-4D42-A56F-573BF303D3EB}" srcOrd="1" destOrd="0" presId="urn:microsoft.com/office/officeart/2005/8/layout/equation1"/>
    <dgm:cxn modelId="{D31B2CBA-534E-456A-BBC4-EC6215831690}" type="presParOf" srcId="{263D1411-8B94-4BD3-86FE-2A81E0FA527D}" destId="{6673E2C0-687C-4813-9CDF-C1D7AB877466}" srcOrd="2" destOrd="0" presId="urn:microsoft.com/office/officeart/2005/8/layout/equation1"/>
    <dgm:cxn modelId="{DC82742D-4EC2-42AE-861E-AFE2CACDB7A8}" type="presParOf" srcId="{263D1411-8B94-4BD3-86FE-2A81E0FA527D}" destId="{AAD7898C-5FD6-4578-A749-1FC8705C0B87}" srcOrd="3" destOrd="0" presId="urn:microsoft.com/office/officeart/2005/8/layout/equation1"/>
    <dgm:cxn modelId="{880364C0-B8EE-4CA2-BBF9-4ED105743CC9}" type="presParOf" srcId="{263D1411-8B94-4BD3-86FE-2A81E0FA527D}" destId="{10CBBA21-79EB-41F6-B412-F391EAA0507A}" srcOrd="4" destOrd="0" presId="urn:microsoft.com/office/officeart/2005/8/layout/equation1"/>
    <dgm:cxn modelId="{605F09AF-6F1F-439F-A9BE-56126684B4CC}" type="presParOf" srcId="{263D1411-8B94-4BD3-86FE-2A81E0FA527D}" destId="{7DF48E54-3BD7-422B-B7D0-B15DBFC5ACB4}" srcOrd="5" destOrd="0" presId="urn:microsoft.com/office/officeart/2005/8/layout/equation1"/>
    <dgm:cxn modelId="{8DE0BBA8-9999-4A40-8E72-D127F2EF6273}" type="presParOf" srcId="{263D1411-8B94-4BD3-86FE-2A81E0FA527D}" destId="{8B0DDA86-1B95-48DA-B6BA-3D7A249A161A}" srcOrd="6" destOrd="0" presId="urn:microsoft.com/office/officeart/2005/8/layout/equation1"/>
    <dgm:cxn modelId="{CD6BAFFC-A9B0-41DA-88B5-A0F554764567}" type="presParOf" srcId="{263D1411-8B94-4BD3-86FE-2A81E0FA527D}" destId="{A6376049-2292-4B32-ABDC-EAF619E7D27C}" srcOrd="7" destOrd="0" presId="urn:microsoft.com/office/officeart/2005/8/layout/equation1"/>
    <dgm:cxn modelId="{E2492B6E-2F81-442E-84F2-C95AFB0F8830}" type="presParOf" srcId="{263D1411-8B94-4BD3-86FE-2A81E0FA527D}" destId="{8654DA70-295E-47B4-95D9-098230C9A89A}" srcOrd="8" destOrd="0" presId="urn:microsoft.com/office/officeart/2005/8/layout/equation1"/>
    <dgm:cxn modelId="{B561FD97-1D72-4BB0-A57E-6BFEFC64AECD}" type="presParOf" srcId="{263D1411-8B94-4BD3-86FE-2A81E0FA527D}" destId="{D46D89DA-5BE8-4685-940C-3D53E21A4601}" srcOrd="9" destOrd="0" presId="urn:microsoft.com/office/officeart/2005/8/layout/equation1"/>
    <dgm:cxn modelId="{784EB207-23E9-4902-B058-39923F29008C}" type="presParOf" srcId="{263D1411-8B94-4BD3-86FE-2A81E0FA527D}" destId="{46BABBF9-D006-443D-8111-5C6F404BF7AA}" srcOrd="10" destOrd="0" presId="urn:microsoft.com/office/officeart/2005/8/layout/equation1"/>
    <dgm:cxn modelId="{2FFB14CB-1874-41D4-BDDC-8B5931450C93}" type="presParOf" srcId="{263D1411-8B94-4BD3-86FE-2A81E0FA527D}" destId="{79E14D49-221A-4119-A0CA-7F054AC847A2}" srcOrd="11" destOrd="0" presId="urn:microsoft.com/office/officeart/2005/8/layout/equation1"/>
    <dgm:cxn modelId="{0D1D8947-69ED-42CB-A1C4-A92AFE56906C}" type="presParOf" srcId="{263D1411-8B94-4BD3-86FE-2A81E0FA527D}" destId="{1E63E032-A34B-40F9-9996-7094989E1D20}" srcOrd="12" destOrd="0" presId="urn:microsoft.com/office/officeart/2005/8/layout/equati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4A76FF16-3CDD-45E1-8DF8-C4BAB716911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331A5FE-0937-42BB-851A-E401D04790A0}">
      <dgm:prSet/>
      <dgm:spPr/>
      <dgm:t>
        <a:bodyPr/>
        <a:lstStyle/>
        <a:p>
          <a:r>
            <a:rPr lang="en-US" b="1" dirty="0"/>
            <a:t>Automatic</a:t>
          </a:r>
          <a:r>
            <a:rPr lang="en-US" dirty="0"/>
            <a:t> (default) – Database engine issues checkpoints automatically based on the server level “recovery interval” configuration option</a:t>
          </a:r>
        </a:p>
      </dgm:t>
    </dgm:pt>
    <dgm:pt modelId="{7F8F6BC6-D92A-4837-9A29-D783F2B70E20}" type="parTrans" cxnId="{0463552D-DF9C-439B-9B12-2AF5F55222A0}">
      <dgm:prSet/>
      <dgm:spPr/>
      <dgm:t>
        <a:bodyPr/>
        <a:lstStyle/>
        <a:p>
          <a:endParaRPr lang="en-US"/>
        </a:p>
      </dgm:t>
    </dgm:pt>
    <dgm:pt modelId="{76E07976-7831-4731-929D-024828E83D62}" type="sibTrans" cxnId="{0463552D-DF9C-439B-9B12-2AF5F55222A0}">
      <dgm:prSet/>
      <dgm:spPr/>
      <dgm:t>
        <a:bodyPr/>
        <a:lstStyle/>
        <a:p>
          <a:endParaRPr lang="en-US"/>
        </a:p>
      </dgm:t>
    </dgm:pt>
    <dgm:pt modelId="{07068F90-6DC6-4275-86B5-AD0B1F2F97CD}">
      <dgm:prSet/>
      <dgm:spPr/>
      <dgm:t>
        <a:bodyPr/>
        <a:lstStyle/>
        <a:p>
          <a:r>
            <a:rPr lang="en-US" b="1" dirty="0"/>
            <a:t>Indirect</a:t>
          </a:r>
          <a:r>
            <a:rPr lang="en-US" dirty="0"/>
            <a:t> (new in SQL Server 2012) – Database engine issues checkpoints automatically based on the database level TARGET_RECOVERY_TIME</a:t>
          </a:r>
        </a:p>
      </dgm:t>
    </dgm:pt>
    <dgm:pt modelId="{8C6C121B-8B4B-4819-92A2-26BC2F527871}" type="parTrans" cxnId="{84E0CB70-D351-414D-9723-98EA6DA6A624}">
      <dgm:prSet/>
      <dgm:spPr/>
      <dgm:t>
        <a:bodyPr/>
        <a:lstStyle/>
        <a:p>
          <a:endParaRPr lang="en-US"/>
        </a:p>
      </dgm:t>
    </dgm:pt>
    <dgm:pt modelId="{BC7406FE-8270-4AA2-83FF-523B07F1DBCC}" type="sibTrans" cxnId="{84E0CB70-D351-414D-9723-98EA6DA6A624}">
      <dgm:prSet/>
      <dgm:spPr/>
      <dgm:t>
        <a:bodyPr/>
        <a:lstStyle/>
        <a:p>
          <a:endParaRPr lang="en-US"/>
        </a:p>
      </dgm:t>
    </dgm:pt>
    <dgm:pt modelId="{84972595-1857-402E-BD44-B8C9E1048B0D}">
      <dgm:prSet/>
      <dgm:spPr/>
      <dgm:t>
        <a:bodyPr/>
        <a:lstStyle/>
        <a:p>
          <a:r>
            <a:rPr lang="en-US" b="1" dirty="0"/>
            <a:t>Manual</a:t>
          </a:r>
          <a:r>
            <a:rPr lang="en-US" dirty="0"/>
            <a:t> – Issued in the current database for your connection when you execute the T-SQL CHECKPOINT command</a:t>
          </a:r>
        </a:p>
      </dgm:t>
    </dgm:pt>
    <dgm:pt modelId="{6083E805-0CEA-4EE2-88FA-A1DA7D185C48}" type="parTrans" cxnId="{AE153EBE-1E72-439D-AC89-BB092D822061}">
      <dgm:prSet/>
      <dgm:spPr/>
      <dgm:t>
        <a:bodyPr/>
        <a:lstStyle/>
        <a:p>
          <a:endParaRPr lang="en-US"/>
        </a:p>
      </dgm:t>
    </dgm:pt>
    <dgm:pt modelId="{DC09C0A9-E77E-40EF-9573-05045BBBDB52}" type="sibTrans" cxnId="{AE153EBE-1E72-439D-AC89-BB092D822061}">
      <dgm:prSet/>
      <dgm:spPr/>
      <dgm:t>
        <a:bodyPr/>
        <a:lstStyle/>
        <a:p>
          <a:endParaRPr lang="en-US"/>
        </a:p>
      </dgm:t>
    </dgm:pt>
    <dgm:pt modelId="{DAE9F991-6572-4F64-B7F1-F31BB10A008E}">
      <dgm:prSet/>
      <dgm:spPr/>
      <dgm:t>
        <a:bodyPr/>
        <a:lstStyle/>
        <a:p>
          <a:r>
            <a:rPr lang="en-US" b="1" dirty="0"/>
            <a:t>Internal</a:t>
          </a:r>
          <a:r>
            <a:rPr lang="en-US" dirty="0"/>
            <a:t> – Issued by various server operations</a:t>
          </a:r>
        </a:p>
      </dgm:t>
    </dgm:pt>
    <dgm:pt modelId="{C169FDEF-938C-43DE-82A2-485D02FCE2B2}" type="parTrans" cxnId="{B2CAB1F5-8DA5-42C9-8F63-033F9BDB1CCD}">
      <dgm:prSet/>
      <dgm:spPr/>
      <dgm:t>
        <a:bodyPr/>
        <a:lstStyle/>
        <a:p>
          <a:endParaRPr lang="en-US"/>
        </a:p>
      </dgm:t>
    </dgm:pt>
    <dgm:pt modelId="{8DC1791F-043B-4AF5-A2E2-460168006F09}" type="sibTrans" cxnId="{B2CAB1F5-8DA5-42C9-8F63-033F9BDB1CCD}">
      <dgm:prSet/>
      <dgm:spPr/>
      <dgm:t>
        <a:bodyPr/>
        <a:lstStyle/>
        <a:p>
          <a:endParaRPr lang="en-US"/>
        </a:p>
      </dgm:t>
    </dgm:pt>
    <dgm:pt modelId="{392FA100-3E91-4BDC-A0DF-3845E8635450}">
      <dgm:prSet/>
      <dgm:spPr/>
      <dgm:t>
        <a:bodyPr/>
        <a:lstStyle/>
        <a:p>
          <a:endParaRPr lang="en-US" dirty="0"/>
        </a:p>
      </dgm:t>
    </dgm:pt>
    <dgm:pt modelId="{EC22291B-37D6-41CE-9AE5-D5F85AF5A51D}" type="parTrans" cxnId="{87EC574C-C0B4-464C-8921-363C31C64BB7}">
      <dgm:prSet/>
      <dgm:spPr/>
      <dgm:t>
        <a:bodyPr/>
        <a:lstStyle/>
        <a:p>
          <a:endParaRPr lang="en-US"/>
        </a:p>
      </dgm:t>
    </dgm:pt>
    <dgm:pt modelId="{886690BB-8C8A-4DE6-AC01-8CC0366CF4F5}" type="sibTrans" cxnId="{87EC574C-C0B4-464C-8921-363C31C64BB7}">
      <dgm:prSet/>
      <dgm:spPr/>
      <dgm:t>
        <a:bodyPr/>
        <a:lstStyle/>
        <a:p>
          <a:endParaRPr lang="en-US"/>
        </a:p>
      </dgm:t>
    </dgm:pt>
    <dgm:pt modelId="{3820659C-B5E1-4CED-B38B-50A98050BED8}" type="pres">
      <dgm:prSet presAssocID="{4A76FF16-3CDD-45E1-8DF8-C4BAB716911A}" presName="linear" presStyleCnt="0">
        <dgm:presLayoutVars>
          <dgm:animLvl val="lvl"/>
          <dgm:resizeHandles val="exact"/>
        </dgm:presLayoutVars>
      </dgm:prSet>
      <dgm:spPr/>
    </dgm:pt>
    <dgm:pt modelId="{96A805E4-2107-49A3-BD77-3C70BA121985}" type="pres">
      <dgm:prSet presAssocID="{8331A5FE-0937-42BB-851A-E401D04790A0}" presName="parentText" presStyleLbl="node1" presStyleIdx="0" presStyleCnt="4">
        <dgm:presLayoutVars>
          <dgm:chMax val="0"/>
          <dgm:bulletEnabled val="1"/>
        </dgm:presLayoutVars>
      </dgm:prSet>
      <dgm:spPr/>
    </dgm:pt>
    <dgm:pt modelId="{66A61B0C-287D-406D-B09A-80E4C31EC81E}" type="pres">
      <dgm:prSet presAssocID="{76E07976-7831-4731-929D-024828E83D62}" presName="spacer" presStyleCnt="0"/>
      <dgm:spPr/>
    </dgm:pt>
    <dgm:pt modelId="{95DD3C3F-6913-4DF8-BA60-D5B77EE51AD0}" type="pres">
      <dgm:prSet presAssocID="{07068F90-6DC6-4275-86B5-AD0B1F2F97CD}" presName="parentText" presStyleLbl="node1" presStyleIdx="1" presStyleCnt="4">
        <dgm:presLayoutVars>
          <dgm:chMax val="0"/>
          <dgm:bulletEnabled val="1"/>
        </dgm:presLayoutVars>
      </dgm:prSet>
      <dgm:spPr/>
    </dgm:pt>
    <dgm:pt modelId="{AE6B6D19-C792-4D73-A9A4-722404BFC6F5}" type="pres">
      <dgm:prSet presAssocID="{07068F90-6DC6-4275-86B5-AD0B1F2F97CD}" presName="childText" presStyleLbl="revTx" presStyleIdx="0" presStyleCnt="1">
        <dgm:presLayoutVars>
          <dgm:bulletEnabled val="1"/>
        </dgm:presLayoutVars>
      </dgm:prSet>
      <dgm:spPr/>
    </dgm:pt>
    <dgm:pt modelId="{191229E1-A669-4C80-929D-90658F54B41C}" type="pres">
      <dgm:prSet presAssocID="{84972595-1857-402E-BD44-B8C9E1048B0D}" presName="parentText" presStyleLbl="node1" presStyleIdx="2" presStyleCnt="4">
        <dgm:presLayoutVars>
          <dgm:chMax val="0"/>
          <dgm:bulletEnabled val="1"/>
        </dgm:presLayoutVars>
      </dgm:prSet>
      <dgm:spPr/>
    </dgm:pt>
    <dgm:pt modelId="{82797555-CE34-4620-A414-A0D7DDE0ADDA}" type="pres">
      <dgm:prSet presAssocID="{DC09C0A9-E77E-40EF-9573-05045BBBDB52}" presName="spacer" presStyleCnt="0"/>
      <dgm:spPr/>
    </dgm:pt>
    <dgm:pt modelId="{9FB0B889-7813-4D35-8556-384C3E45CE9B}" type="pres">
      <dgm:prSet presAssocID="{DAE9F991-6572-4F64-B7F1-F31BB10A008E}" presName="parentText" presStyleLbl="node1" presStyleIdx="3" presStyleCnt="4">
        <dgm:presLayoutVars>
          <dgm:chMax val="0"/>
          <dgm:bulletEnabled val="1"/>
        </dgm:presLayoutVars>
      </dgm:prSet>
      <dgm:spPr/>
    </dgm:pt>
  </dgm:ptLst>
  <dgm:cxnLst>
    <dgm:cxn modelId="{1CE7B80E-DB07-49E4-A0DF-44AD0570221A}" type="presOf" srcId="{84972595-1857-402E-BD44-B8C9E1048B0D}" destId="{191229E1-A669-4C80-929D-90658F54B41C}" srcOrd="0" destOrd="0" presId="urn:microsoft.com/office/officeart/2005/8/layout/vList2"/>
    <dgm:cxn modelId="{0463552D-DF9C-439B-9B12-2AF5F55222A0}" srcId="{4A76FF16-3CDD-45E1-8DF8-C4BAB716911A}" destId="{8331A5FE-0937-42BB-851A-E401D04790A0}" srcOrd="0" destOrd="0" parTransId="{7F8F6BC6-D92A-4837-9A29-D783F2B70E20}" sibTransId="{76E07976-7831-4731-929D-024828E83D62}"/>
    <dgm:cxn modelId="{A9D02C3E-7BB6-45C6-BFAC-8DF6888523D0}" type="presOf" srcId="{4A76FF16-3CDD-45E1-8DF8-C4BAB716911A}" destId="{3820659C-B5E1-4CED-B38B-50A98050BED8}" srcOrd="0" destOrd="0" presId="urn:microsoft.com/office/officeart/2005/8/layout/vList2"/>
    <dgm:cxn modelId="{87EC574C-C0B4-464C-8921-363C31C64BB7}" srcId="{07068F90-6DC6-4275-86B5-AD0B1F2F97CD}" destId="{392FA100-3E91-4BDC-A0DF-3845E8635450}" srcOrd="0" destOrd="0" parTransId="{EC22291B-37D6-41CE-9AE5-D5F85AF5A51D}" sibTransId="{886690BB-8C8A-4DE6-AC01-8CC0366CF4F5}"/>
    <dgm:cxn modelId="{84E0CB70-D351-414D-9723-98EA6DA6A624}" srcId="{4A76FF16-3CDD-45E1-8DF8-C4BAB716911A}" destId="{07068F90-6DC6-4275-86B5-AD0B1F2F97CD}" srcOrd="1" destOrd="0" parTransId="{8C6C121B-8B4B-4819-92A2-26BC2F527871}" sibTransId="{BC7406FE-8270-4AA2-83FF-523B07F1DBCC}"/>
    <dgm:cxn modelId="{670D528B-6B17-4A61-ACD3-6C26F5CBE42D}" type="presOf" srcId="{DAE9F991-6572-4F64-B7F1-F31BB10A008E}" destId="{9FB0B889-7813-4D35-8556-384C3E45CE9B}" srcOrd="0" destOrd="0" presId="urn:microsoft.com/office/officeart/2005/8/layout/vList2"/>
    <dgm:cxn modelId="{82898FA6-05F9-45CF-9A82-8D084FECD12B}" type="presOf" srcId="{8331A5FE-0937-42BB-851A-E401D04790A0}" destId="{96A805E4-2107-49A3-BD77-3C70BA121985}" srcOrd="0" destOrd="0" presId="urn:microsoft.com/office/officeart/2005/8/layout/vList2"/>
    <dgm:cxn modelId="{AE153EBE-1E72-439D-AC89-BB092D822061}" srcId="{4A76FF16-3CDD-45E1-8DF8-C4BAB716911A}" destId="{84972595-1857-402E-BD44-B8C9E1048B0D}" srcOrd="2" destOrd="0" parTransId="{6083E805-0CEA-4EE2-88FA-A1DA7D185C48}" sibTransId="{DC09C0A9-E77E-40EF-9573-05045BBBDB52}"/>
    <dgm:cxn modelId="{23FC29C1-54EB-45E6-B723-3FF4BDECE12B}" type="presOf" srcId="{07068F90-6DC6-4275-86B5-AD0B1F2F97CD}" destId="{95DD3C3F-6913-4DF8-BA60-D5B77EE51AD0}" srcOrd="0" destOrd="0" presId="urn:microsoft.com/office/officeart/2005/8/layout/vList2"/>
    <dgm:cxn modelId="{367798ED-FE6C-4FDB-8763-1ABC1B03B6E2}" type="presOf" srcId="{392FA100-3E91-4BDC-A0DF-3845E8635450}" destId="{AE6B6D19-C792-4D73-A9A4-722404BFC6F5}" srcOrd="0" destOrd="0" presId="urn:microsoft.com/office/officeart/2005/8/layout/vList2"/>
    <dgm:cxn modelId="{B2CAB1F5-8DA5-42C9-8F63-033F9BDB1CCD}" srcId="{4A76FF16-3CDD-45E1-8DF8-C4BAB716911A}" destId="{DAE9F991-6572-4F64-B7F1-F31BB10A008E}" srcOrd="3" destOrd="0" parTransId="{C169FDEF-938C-43DE-82A2-485D02FCE2B2}" sibTransId="{8DC1791F-043B-4AF5-A2E2-460168006F09}"/>
    <dgm:cxn modelId="{359789AC-BFCB-4AAC-8C2E-70956790FF24}" type="presParOf" srcId="{3820659C-B5E1-4CED-B38B-50A98050BED8}" destId="{96A805E4-2107-49A3-BD77-3C70BA121985}" srcOrd="0" destOrd="0" presId="urn:microsoft.com/office/officeart/2005/8/layout/vList2"/>
    <dgm:cxn modelId="{3189B42B-28E2-4B56-9ED6-A8A97A2535CC}" type="presParOf" srcId="{3820659C-B5E1-4CED-B38B-50A98050BED8}" destId="{66A61B0C-287D-406D-B09A-80E4C31EC81E}" srcOrd="1" destOrd="0" presId="urn:microsoft.com/office/officeart/2005/8/layout/vList2"/>
    <dgm:cxn modelId="{656C0CF3-B50E-4932-90A8-DE29A5C25EF1}" type="presParOf" srcId="{3820659C-B5E1-4CED-B38B-50A98050BED8}" destId="{95DD3C3F-6913-4DF8-BA60-D5B77EE51AD0}" srcOrd="2" destOrd="0" presId="urn:microsoft.com/office/officeart/2005/8/layout/vList2"/>
    <dgm:cxn modelId="{5CB37221-B3D6-4E0E-B648-93A9A2D99065}" type="presParOf" srcId="{3820659C-B5E1-4CED-B38B-50A98050BED8}" destId="{AE6B6D19-C792-4D73-A9A4-722404BFC6F5}" srcOrd="3" destOrd="0" presId="urn:microsoft.com/office/officeart/2005/8/layout/vList2"/>
    <dgm:cxn modelId="{C4205696-68F4-4D3C-B5A3-BBB2C7AA33F1}" type="presParOf" srcId="{3820659C-B5E1-4CED-B38B-50A98050BED8}" destId="{191229E1-A669-4C80-929D-90658F54B41C}" srcOrd="4" destOrd="0" presId="urn:microsoft.com/office/officeart/2005/8/layout/vList2"/>
    <dgm:cxn modelId="{0FF9D968-C090-4DAC-B8B8-8B4014310394}" type="presParOf" srcId="{3820659C-B5E1-4CED-B38B-50A98050BED8}" destId="{82797555-CE34-4620-A414-A0D7DDE0ADDA}" srcOrd="5" destOrd="0" presId="urn:microsoft.com/office/officeart/2005/8/layout/vList2"/>
    <dgm:cxn modelId="{A75CD7C7-6244-427E-80F7-7FCDD216B920}" type="presParOf" srcId="{3820659C-B5E1-4CED-B38B-50A98050BED8}" destId="{9FB0B889-7813-4D35-8556-384C3E45CE9B}"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6D26C6C-C57D-468F-8925-C2B31E465B5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040668D5-D158-42FF-8A05-6227891BBE87}">
      <dgm:prSet custT="1"/>
      <dgm:spPr/>
      <dgm:t>
        <a:bodyPr/>
        <a:lstStyle/>
        <a:p>
          <a:r>
            <a:rPr lang="en-US" sz="2800" baseline="0"/>
            <a:t>Affinity Mask</a:t>
          </a:r>
          <a:endParaRPr lang="en-US" sz="2800"/>
        </a:p>
      </dgm:t>
    </dgm:pt>
    <dgm:pt modelId="{3443D885-0BFF-4F5C-96E8-018D10A3184F}" type="parTrans" cxnId="{617DFBF6-C75D-427B-A0E9-C0BB50B1BD55}">
      <dgm:prSet/>
      <dgm:spPr/>
      <dgm:t>
        <a:bodyPr/>
        <a:lstStyle/>
        <a:p>
          <a:endParaRPr lang="en-US"/>
        </a:p>
      </dgm:t>
    </dgm:pt>
    <dgm:pt modelId="{E30C5A61-97E7-43D2-8049-4E7D0380921E}" type="sibTrans" cxnId="{617DFBF6-C75D-427B-A0E9-C0BB50B1BD55}">
      <dgm:prSet/>
      <dgm:spPr/>
      <dgm:t>
        <a:bodyPr/>
        <a:lstStyle/>
        <a:p>
          <a:endParaRPr lang="en-US"/>
        </a:p>
      </dgm:t>
    </dgm:pt>
    <dgm:pt modelId="{AD8BC824-2AA0-4F91-80CB-239A8CAF93BB}">
      <dgm:prSet/>
      <dgm:spPr/>
      <dgm:t>
        <a:bodyPr/>
        <a:lstStyle/>
        <a:p>
          <a:r>
            <a:rPr lang="en-US" baseline="0"/>
            <a:t>Assigns CPUs for SQL Server use</a:t>
          </a:r>
          <a:endParaRPr lang="en-US"/>
        </a:p>
      </dgm:t>
    </dgm:pt>
    <dgm:pt modelId="{85FB291B-D117-47CB-9B8C-579CED8AE15F}" type="parTrans" cxnId="{A53F2710-05C3-444F-AB26-FF0E67A359BF}">
      <dgm:prSet/>
      <dgm:spPr/>
      <dgm:t>
        <a:bodyPr/>
        <a:lstStyle/>
        <a:p>
          <a:endParaRPr lang="en-US"/>
        </a:p>
      </dgm:t>
    </dgm:pt>
    <dgm:pt modelId="{7BD220F5-0BB3-4479-BE90-C13A6FA69EB0}" type="sibTrans" cxnId="{A53F2710-05C3-444F-AB26-FF0E67A359BF}">
      <dgm:prSet/>
      <dgm:spPr/>
      <dgm:t>
        <a:bodyPr/>
        <a:lstStyle/>
        <a:p>
          <a:endParaRPr lang="en-US"/>
        </a:p>
      </dgm:t>
    </dgm:pt>
    <dgm:pt modelId="{79B18C80-4D1A-4F7F-8F7E-71691977B534}">
      <dgm:prSet/>
      <dgm:spPr/>
      <dgm:t>
        <a:bodyPr/>
        <a:lstStyle/>
        <a:p>
          <a:r>
            <a:rPr lang="en-US" baseline="0"/>
            <a:t>Set via sp_configure or Alter Server Configuration</a:t>
          </a:r>
          <a:endParaRPr lang="en-US"/>
        </a:p>
      </dgm:t>
    </dgm:pt>
    <dgm:pt modelId="{E6DA37E3-A4F4-4E7A-B736-AC0F6CBDEBE3}" type="parTrans" cxnId="{785C1D89-F8E6-4693-AEFA-3EDA38EE5991}">
      <dgm:prSet/>
      <dgm:spPr/>
      <dgm:t>
        <a:bodyPr/>
        <a:lstStyle/>
        <a:p>
          <a:endParaRPr lang="en-US"/>
        </a:p>
      </dgm:t>
    </dgm:pt>
    <dgm:pt modelId="{21DCECC8-64BB-4F47-AE62-99D8EBA57685}" type="sibTrans" cxnId="{785C1D89-F8E6-4693-AEFA-3EDA38EE5991}">
      <dgm:prSet/>
      <dgm:spPr/>
      <dgm:t>
        <a:bodyPr/>
        <a:lstStyle/>
        <a:p>
          <a:endParaRPr lang="en-US"/>
        </a:p>
      </dgm:t>
    </dgm:pt>
    <dgm:pt modelId="{5C017B2C-3345-4723-B4F9-5F0B1D7CA1FB}">
      <dgm:prSet custT="1"/>
      <dgm:spPr/>
      <dgm:t>
        <a:bodyPr/>
        <a:lstStyle/>
        <a:p>
          <a:r>
            <a:rPr lang="en-US" sz="2800" baseline="0"/>
            <a:t>Cost Threshold for Parallelism</a:t>
          </a:r>
          <a:endParaRPr lang="en-US" sz="2800"/>
        </a:p>
      </dgm:t>
    </dgm:pt>
    <dgm:pt modelId="{B33C3E50-F690-4BED-A482-DE2206ED393C}" type="parTrans" cxnId="{4AB556FC-B5D4-4F79-8861-D7E894F66883}">
      <dgm:prSet/>
      <dgm:spPr/>
      <dgm:t>
        <a:bodyPr/>
        <a:lstStyle/>
        <a:p>
          <a:endParaRPr lang="en-US"/>
        </a:p>
      </dgm:t>
    </dgm:pt>
    <dgm:pt modelId="{ED84AF96-527A-42D0-B747-8BB34E159D81}" type="sibTrans" cxnId="{4AB556FC-B5D4-4F79-8861-D7E894F66883}">
      <dgm:prSet/>
      <dgm:spPr/>
      <dgm:t>
        <a:bodyPr/>
        <a:lstStyle/>
        <a:p>
          <a:endParaRPr lang="en-US"/>
        </a:p>
      </dgm:t>
    </dgm:pt>
    <dgm:pt modelId="{FA408BAE-16AC-4206-A1BB-BEFCAE9D0CD5}">
      <dgm:prSet/>
      <dgm:spPr/>
      <dgm:t>
        <a:bodyPr/>
        <a:lstStyle/>
        <a:p>
          <a:r>
            <a:rPr lang="en-US" baseline="0"/>
            <a:t>Only queries with a cost that is higher than this value will be considered for parallelism</a:t>
          </a:r>
          <a:endParaRPr lang="en-US"/>
        </a:p>
      </dgm:t>
    </dgm:pt>
    <dgm:pt modelId="{C2446EEB-09C8-42F9-9B81-6B6250EB3AEA}" type="parTrans" cxnId="{8B9CDD84-197B-4447-9ECB-3C60A407F1B2}">
      <dgm:prSet/>
      <dgm:spPr/>
      <dgm:t>
        <a:bodyPr/>
        <a:lstStyle/>
        <a:p>
          <a:endParaRPr lang="en-US"/>
        </a:p>
      </dgm:t>
    </dgm:pt>
    <dgm:pt modelId="{F7599045-B043-494B-B6ED-68D007A7E0F0}" type="sibTrans" cxnId="{8B9CDD84-197B-4447-9ECB-3C60A407F1B2}">
      <dgm:prSet/>
      <dgm:spPr/>
      <dgm:t>
        <a:bodyPr/>
        <a:lstStyle/>
        <a:p>
          <a:endParaRPr lang="en-US"/>
        </a:p>
      </dgm:t>
    </dgm:pt>
    <dgm:pt modelId="{E3C0883C-8CD1-460D-8627-DA1B6A435134}">
      <dgm:prSet custT="1"/>
      <dgm:spPr/>
      <dgm:t>
        <a:bodyPr/>
        <a:lstStyle/>
        <a:p>
          <a:r>
            <a:rPr lang="en-US" sz="2800" baseline="0"/>
            <a:t>Max Worker Threads</a:t>
          </a:r>
          <a:endParaRPr lang="en-US" sz="2800"/>
        </a:p>
      </dgm:t>
    </dgm:pt>
    <dgm:pt modelId="{3B252554-04DB-4309-9FE1-5B6F070D6B27}" type="parTrans" cxnId="{E56DBB8E-A9CB-4E7E-BFD3-936E040F143A}">
      <dgm:prSet/>
      <dgm:spPr/>
      <dgm:t>
        <a:bodyPr/>
        <a:lstStyle/>
        <a:p>
          <a:endParaRPr lang="en-US"/>
        </a:p>
      </dgm:t>
    </dgm:pt>
    <dgm:pt modelId="{BCCD7F17-65CD-4833-BE67-37BAFEAB7EFD}" type="sibTrans" cxnId="{E56DBB8E-A9CB-4E7E-BFD3-936E040F143A}">
      <dgm:prSet/>
      <dgm:spPr/>
      <dgm:t>
        <a:bodyPr/>
        <a:lstStyle/>
        <a:p>
          <a:endParaRPr lang="en-US"/>
        </a:p>
      </dgm:t>
    </dgm:pt>
    <dgm:pt modelId="{0111A9D0-4EA4-4ECB-9403-72DD89DD4BB4}">
      <dgm:prSet/>
      <dgm:spPr/>
      <dgm:t>
        <a:bodyPr/>
        <a:lstStyle/>
        <a:p>
          <a:r>
            <a:rPr lang="en-US" baseline="0"/>
            <a:t>Number of threads SQL Server can allocate</a:t>
          </a:r>
          <a:endParaRPr lang="en-US"/>
        </a:p>
      </dgm:t>
    </dgm:pt>
    <dgm:pt modelId="{06D76CBA-59B5-45A3-8BE7-1ECDAA24443B}" type="parTrans" cxnId="{68C8187A-5CF6-4D8D-BF2A-0AF51A22FD8D}">
      <dgm:prSet/>
      <dgm:spPr/>
      <dgm:t>
        <a:bodyPr/>
        <a:lstStyle/>
        <a:p>
          <a:endParaRPr lang="en-US"/>
        </a:p>
      </dgm:t>
    </dgm:pt>
    <dgm:pt modelId="{D3C38AFF-AE03-42B9-A283-D01010B3D2FE}" type="sibTrans" cxnId="{68C8187A-5CF6-4D8D-BF2A-0AF51A22FD8D}">
      <dgm:prSet/>
      <dgm:spPr/>
      <dgm:t>
        <a:bodyPr/>
        <a:lstStyle/>
        <a:p>
          <a:endParaRPr lang="en-US"/>
        </a:p>
      </dgm:t>
    </dgm:pt>
    <dgm:pt modelId="{673DD419-A7BB-4D71-9B9A-74FC697ABA5A}">
      <dgm:prSet/>
      <dgm:spPr/>
      <dgm:t>
        <a:bodyPr/>
        <a:lstStyle/>
        <a:p>
          <a:r>
            <a:rPr lang="en-US" baseline="0"/>
            <a:t>Recommended value is 0. SQL Server will dynamically set the Max based on CPUs and CPU architecture</a:t>
          </a:r>
          <a:endParaRPr lang="en-US"/>
        </a:p>
      </dgm:t>
    </dgm:pt>
    <dgm:pt modelId="{F8463E4F-62FF-433C-B871-B3FBB73B71CB}" type="parTrans" cxnId="{A5F6A512-D01E-44F7-9BFE-C8328F904F86}">
      <dgm:prSet/>
      <dgm:spPr/>
      <dgm:t>
        <a:bodyPr/>
        <a:lstStyle/>
        <a:p>
          <a:endParaRPr lang="en-US"/>
        </a:p>
      </dgm:t>
    </dgm:pt>
    <dgm:pt modelId="{5C171E2D-237C-447C-B8FE-32A672CF5DE0}" type="sibTrans" cxnId="{A5F6A512-D01E-44F7-9BFE-C8328F904F86}">
      <dgm:prSet/>
      <dgm:spPr/>
      <dgm:t>
        <a:bodyPr/>
        <a:lstStyle/>
        <a:p>
          <a:endParaRPr lang="en-US"/>
        </a:p>
      </dgm:t>
    </dgm:pt>
    <dgm:pt modelId="{C4BEF1E5-5BCB-4C18-89DF-52CDE2A40D33}">
      <dgm:prSet/>
      <dgm:spPr/>
      <dgm:t>
        <a:bodyPr/>
        <a:lstStyle/>
        <a:p>
          <a:r>
            <a:rPr lang="en-US" dirty="0"/>
            <a:t>Only required in specific scenarios</a:t>
          </a:r>
        </a:p>
      </dgm:t>
    </dgm:pt>
    <dgm:pt modelId="{8D33063C-2528-4272-BFBD-829C90A457B8}" type="parTrans" cxnId="{518EF2D5-316A-46E4-8AD5-26F9CD3054D6}">
      <dgm:prSet/>
      <dgm:spPr/>
      <dgm:t>
        <a:bodyPr/>
        <a:lstStyle/>
        <a:p>
          <a:endParaRPr lang="en-US"/>
        </a:p>
      </dgm:t>
    </dgm:pt>
    <dgm:pt modelId="{46CC95F0-7DC3-40B7-9B4D-FA871A78508D}" type="sibTrans" cxnId="{518EF2D5-316A-46E4-8AD5-26F9CD3054D6}">
      <dgm:prSet/>
      <dgm:spPr/>
      <dgm:t>
        <a:bodyPr/>
        <a:lstStyle/>
        <a:p>
          <a:endParaRPr lang="en-US"/>
        </a:p>
      </dgm:t>
    </dgm:pt>
    <dgm:pt modelId="{14424429-C457-44B9-A919-74844DB70ACC}">
      <dgm:prSet/>
      <dgm:spPr/>
      <dgm:t>
        <a:bodyPr/>
        <a:lstStyle/>
        <a:p>
          <a:r>
            <a:rPr lang="en-US"/>
            <a:t>Only required when dealing with excessive parallelism</a:t>
          </a:r>
        </a:p>
      </dgm:t>
    </dgm:pt>
    <dgm:pt modelId="{24F7A5B3-FA70-4858-AD29-AE3AC1942895}" type="parTrans" cxnId="{1F76C0EF-A5A3-4671-9EAE-2F267ACDC4B1}">
      <dgm:prSet/>
      <dgm:spPr/>
      <dgm:t>
        <a:bodyPr/>
        <a:lstStyle/>
        <a:p>
          <a:endParaRPr lang="en-US"/>
        </a:p>
      </dgm:t>
    </dgm:pt>
    <dgm:pt modelId="{83F07B63-2711-474F-A878-5EF6ACA57965}" type="sibTrans" cxnId="{1F76C0EF-A5A3-4671-9EAE-2F267ACDC4B1}">
      <dgm:prSet/>
      <dgm:spPr/>
      <dgm:t>
        <a:bodyPr/>
        <a:lstStyle/>
        <a:p>
          <a:endParaRPr lang="en-US"/>
        </a:p>
      </dgm:t>
    </dgm:pt>
    <dgm:pt modelId="{E5A17D81-9425-498C-9FB2-025AA476ED25}">
      <dgm:prSet/>
      <dgm:spPr/>
      <dgm:t>
        <a:bodyPr/>
        <a:lstStyle/>
        <a:p>
          <a:r>
            <a:rPr lang="en-US" dirty="0"/>
            <a:t>Max Degree of Parallelism (MAXDOP)</a:t>
          </a:r>
        </a:p>
      </dgm:t>
    </dgm:pt>
    <dgm:pt modelId="{0C2B6FB2-9CC1-4987-A7B3-DFC12A78C9CF}" type="parTrans" cxnId="{6AC3C21B-536A-4F4F-B0DD-CAF540759127}">
      <dgm:prSet/>
      <dgm:spPr/>
      <dgm:t>
        <a:bodyPr/>
        <a:lstStyle/>
        <a:p>
          <a:endParaRPr lang="en-US"/>
        </a:p>
      </dgm:t>
    </dgm:pt>
    <dgm:pt modelId="{C7652C1E-B373-47A4-9044-1EC8C29AA3F4}" type="sibTrans" cxnId="{6AC3C21B-536A-4F4F-B0DD-CAF540759127}">
      <dgm:prSet/>
      <dgm:spPr/>
      <dgm:t>
        <a:bodyPr/>
        <a:lstStyle/>
        <a:p>
          <a:endParaRPr lang="en-US"/>
        </a:p>
      </dgm:t>
    </dgm:pt>
    <dgm:pt modelId="{5C0E84C6-F839-4E1F-9187-916E1ABE5264}">
      <dgm:prSet/>
      <dgm:spPr/>
      <dgm:t>
        <a:bodyPr/>
        <a:lstStyle/>
        <a:p>
          <a:r>
            <a:rPr lang="en-US" b="0" dirty="0">
              <a:latin typeface="+mn-lt"/>
            </a:rPr>
            <a:t>Maximum number of processors that are used for the execution of a query in a parallel plan. This option determines the number of threads that are used for the query plan operators that perform the work in parallel. </a:t>
          </a:r>
          <a:endParaRPr lang="en-US" dirty="0"/>
        </a:p>
      </dgm:t>
    </dgm:pt>
    <dgm:pt modelId="{0C799F00-D0FC-4701-B766-0DAAAEBA6B0C}" type="parTrans" cxnId="{2E13961E-F560-4941-9DED-BFB920874662}">
      <dgm:prSet/>
      <dgm:spPr/>
      <dgm:t>
        <a:bodyPr/>
        <a:lstStyle/>
        <a:p>
          <a:endParaRPr lang="en-US"/>
        </a:p>
      </dgm:t>
    </dgm:pt>
    <dgm:pt modelId="{C4708B52-6DB5-4643-8FE5-35D9F3ACBD20}" type="sibTrans" cxnId="{2E13961E-F560-4941-9DED-BFB920874662}">
      <dgm:prSet/>
      <dgm:spPr/>
      <dgm:t>
        <a:bodyPr/>
        <a:lstStyle/>
        <a:p>
          <a:endParaRPr lang="en-US"/>
        </a:p>
      </dgm:t>
    </dgm:pt>
    <dgm:pt modelId="{E59B607E-D7E8-4303-8EC9-9BE16B4A0A1E}" type="pres">
      <dgm:prSet presAssocID="{16D26C6C-C57D-468F-8925-C2B31E465B5C}" presName="Name0" presStyleCnt="0">
        <dgm:presLayoutVars>
          <dgm:dir/>
          <dgm:animLvl val="lvl"/>
          <dgm:resizeHandles val="exact"/>
        </dgm:presLayoutVars>
      </dgm:prSet>
      <dgm:spPr/>
    </dgm:pt>
    <dgm:pt modelId="{19E50DBC-E898-45D6-8AF0-A89C3ED2EAF7}" type="pres">
      <dgm:prSet presAssocID="{040668D5-D158-42FF-8A05-6227891BBE87}" presName="linNode" presStyleCnt="0"/>
      <dgm:spPr/>
    </dgm:pt>
    <dgm:pt modelId="{14EDB1D3-1B6D-42F3-A18A-8F1B7C1B8D4F}" type="pres">
      <dgm:prSet presAssocID="{040668D5-D158-42FF-8A05-6227891BBE87}" presName="parentText" presStyleLbl="node1" presStyleIdx="0" presStyleCnt="4">
        <dgm:presLayoutVars>
          <dgm:chMax val="1"/>
          <dgm:bulletEnabled val="1"/>
        </dgm:presLayoutVars>
      </dgm:prSet>
      <dgm:spPr/>
    </dgm:pt>
    <dgm:pt modelId="{8DD63552-03A9-4B58-92DC-A92FAE514C1F}" type="pres">
      <dgm:prSet presAssocID="{040668D5-D158-42FF-8A05-6227891BBE87}" presName="descendantText" presStyleLbl="alignAccFollowNode1" presStyleIdx="0" presStyleCnt="4">
        <dgm:presLayoutVars>
          <dgm:bulletEnabled val="1"/>
        </dgm:presLayoutVars>
      </dgm:prSet>
      <dgm:spPr/>
    </dgm:pt>
    <dgm:pt modelId="{6DB81156-D2DD-4966-B9F5-536303F40B39}" type="pres">
      <dgm:prSet presAssocID="{E30C5A61-97E7-43D2-8049-4E7D0380921E}" presName="sp" presStyleCnt="0"/>
      <dgm:spPr/>
    </dgm:pt>
    <dgm:pt modelId="{E06E13B5-21BA-4EB4-B5B4-A785370EB763}" type="pres">
      <dgm:prSet presAssocID="{E5A17D81-9425-498C-9FB2-025AA476ED25}" presName="linNode" presStyleCnt="0"/>
      <dgm:spPr/>
    </dgm:pt>
    <dgm:pt modelId="{1AF58E77-9F49-4F5F-B653-8F36EA006238}" type="pres">
      <dgm:prSet presAssocID="{E5A17D81-9425-498C-9FB2-025AA476ED25}" presName="parentText" presStyleLbl="node1" presStyleIdx="1" presStyleCnt="4">
        <dgm:presLayoutVars>
          <dgm:chMax val="1"/>
          <dgm:bulletEnabled val="1"/>
        </dgm:presLayoutVars>
      </dgm:prSet>
      <dgm:spPr/>
    </dgm:pt>
    <dgm:pt modelId="{E284ED2E-BE76-443D-9061-D1D23D755A4E}" type="pres">
      <dgm:prSet presAssocID="{E5A17D81-9425-498C-9FB2-025AA476ED25}" presName="descendantText" presStyleLbl="alignAccFollowNode1" presStyleIdx="1" presStyleCnt="4">
        <dgm:presLayoutVars>
          <dgm:bulletEnabled val="1"/>
        </dgm:presLayoutVars>
      </dgm:prSet>
      <dgm:spPr/>
    </dgm:pt>
    <dgm:pt modelId="{C7153679-41C7-4AED-8B7F-1E575491F10D}" type="pres">
      <dgm:prSet presAssocID="{C7652C1E-B373-47A4-9044-1EC8C29AA3F4}" presName="sp" presStyleCnt="0"/>
      <dgm:spPr/>
    </dgm:pt>
    <dgm:pt modelId="{2519D8DB-AD34-4835-A260-219FD79AA11B}" type="pres">
      <dgm:prSet presAssocID="{5C017B2C-3345-4723-B4F9-5F0B1D7CA1FB}" presName="linNode" presStyleCnt="0"/>
      <dgm:spPr/>
    </dgm:pt>
    <dgm:pt modelId="{A7E91A73-299E-4C90-8883-28F8F8CA2E4D}" type="pres">
      <dgm:prSet presAssocID="{5C017B2C-3345-4723-B4F9-5F0B1D7CA1FB}" presName="parentText" presStyleLbl="node1" presStyleIdx="2" presStyleCnt="4">
        <dgm:presLayoutVars>
          <dgm:chMax val="1"/>
          <dgm:bulletEnabled val="1"/>
        </dgm:presLayoutVars>
      </dgm:prSet>
      <dgm:spPr/>
    </dgm:pt>
    <dgm:pt modelId="{F3B52152-8BE4-43A5-9164-5A2FE59E7C12}" type="pres">
      <dgm:prSet presAssocID="{5C017B2C-3345-4723-B4F9-5F0B1D7CA1FB}" presName="descendantText" presStyleLbl="alignAccFollowNode1" presStyleIdx="2" presStyleCnt="4">
        <dgm:presLayoutVars>
          <dgm:bulletEnabled val="1"/>
        </dgm:presLayoutVars>
      </dgm:prSet>
      <dgm:spPr/>
    </dgm:pt>
    <dgm:pt modelId="{C4A00E4F-CFF9-4D9C-B86A-C09ABB0AA6E4}" type="pres">
      <dgm:prSet presAssocID="{ED84AF96-527A-42D0-B747-8BB34E159D81}" presName="sp" presStyleCnt="0"/>
      <dgm:spPr/>
    </dgm:pt>
    <dgm:pt modelId="{CA249A53-4EA1-4211-8140-687C88995B4C}" type="pres">
      <dgm:prSet presAssocID="{E3C0883C-8CD1-460D-8627-DA1B6A435134}" presName="linNode" presStyleCnt="0"/>
      <dgm:spPr/>
    </dgm:pt>
    <dgm:pt modelId="{8E673850-EA23-40B8-AD3D-D7522D99D648}" type="pres">
      <dgm:prSet presAssocID="{E3C0883C-8CD1-460D-8627-DA1B6A435134}" presName="parentText" presStyleLbl="node1" presStyleIdx="3" presStyleCnt="4">
        <dgm:presLayoutVars>
          <dgm:chMax val="1"/>
          <dgm:bulletEnabled val="1"/>
        </dgm:presLayoutVars>
      </dgm:prSet>
      <dgm:spPr/>
    </dgm:pt>
    <dgm:pt modelId="{E703C97D-3FA6-4B02-B5DB-D8F9896B4E74}" type="pres">
      <dgm:prSet presAssocID="{E3C0883C-8CD1-460D-8627-DA1B6A435134}" presName="descendantText" presStyleLbl="alignAccFollowNode1" presStyleIdx="3" presStyleCnt="4">
        <dgm:presLayoutVars>
          <dgm:bulletEnabled val="1"/>
        </dgm:presLayoutVars>
      </dgm:prSet>
      <dgm:spPr/>
    </dgm:pt>
  </dgm:ptLst>
  <dgm:cxnLst>
    <dgm:cxn modelId="{A53F2710-05C3-444F-AB26-FF0E67A359BF}" srcId="{040668D5-D158-42FF-8A05-6227891BBE87}" destId="{AD8BC824-2AA0-4F91-80CB-239A8CAF93BB}" srcOrd="0" destOrd="0" parTransId="{85FB291B-D117-47CB-9B8C-579CED8AE15F}" sibTransId="{7BD220F5-0BB3-4479-BE90-C13A6FA69EB0}"/>
    <dgm:cxn modelId="{A5F6A512-D01E-44F7-9BFE-C8328F904F86}" srcId="{E3C0883C-8CD1-460D-8627-DA1B6A435134}" destId="{673DD419-A7BB-4D71-9B9A-74FC697ABA5A}" srcOrd="1" destOrd="0" parTransId="{F8463E4F-62FF-433C-B871-B3FBB73B71CB}" sibTransId="{5C171E2D-237C-447C-B8FE-32A672CF5DE0}"/>
    <dgm:cxn modelId="{6AC3C21B-536A-4F4F-B0DD-CAF540759127}" srcId="{16D26C6C-C57D-468F-8925-C2B31E465B5C}" destId="{E5A17D81-9425-498C-9FB2-025AA476ED25}" srcOrd="1" destOrd="0" parTransId="{0C2B6FB2-9CC1-4987-A7B3-DFC12A78C9CF}" sibTransId="{C7652C1E-B373-47A4-9044-1EC8C29AA3F4}"/>
    <dgm:cxn modelId="{2E13961E-F560-4941-9DED-BFB920874662}" srcId="{E5A17D81-9425-498C-9FB2-025AA476ED25}" destId="{5C0E84C6-F839-4E1F-9187-916E1ABE5264}" srcOrd="0" destOrd="0" parTransId="{0C799F00-D0FC-4701-B766-0DAAAEBA6B0C}" sibTransId="{C4708B52-6DB5-4643-8FE5-35D9F3ACBD20}"/>
    <dgm:cxn modelId="{6C4AF21E-B538-4723-ADB3-42820E98CE78}" type="presOf" srcId="{E5A17D81-9425-498C-9FB2-025AA476ED25}" destId="{1AF58E77-9F49-4F5F-B653-8F36EA006238}" srcOrd="0" destOrd="0" presId="urn:microsoft.com/office/officeart/2005/8/layout/vList5"/>
    <dgm:cxn modelId="{6BB1285B-7EB5-48AC-B708-F8FA6747A90C}" type="presOf" srcId="{79B18C80-4D1A-4F7F-8F7E-71691977B534}" destId="{8DD63552-03A9-4B58-92DC-A92FAE514C1F}" srcOrd="0" destOrd="1" presId="urn:microsoft.com/office/officeart/2005/8/layout/vList5"/>
    <dgm:cxn modelId="{96AAAD5C-8325-468B-A85A-D797A60B9857}" type="presOf" srcId="{16D26C6C-C57D-468F-8925-C2B31E465B5C}" destId="{E59B607E-D7E8-4303-8EC9-9BE16B4A0A1E}" srcOrd="0" destOrd="0" presId="urn:microsoft.com/office/officeart/2005/8/layout/vList5"/>
    <dgm:cxn modelId="{00423C6C-A9D4-4511-BF39-58AB2DE51DBD}" type="presOf" srcId="{5C0E84C6-F839-4E1F-9187-916E1ABE5264}" destId="{E284ED2E-BE76-443D-9061-D1D23D755A4E}" srcOrd="0" destOrd="0" presId="urn:microsoft.com/office/officeart/2005/8/layout/vList5"/>
    <dgm:cxn modelId="{E125F24F-DA59-42C9-94E3-353FF315068D}" type="presOf" srcId="{AD8BC824-2AA0-4F91-80CB-239A8CAF93BB}" destId="{8DD63552-03A9-4B58-92DC-A92FAE514C1F}" srcOrd="0" destOrd="0" presId="urn:microsoft.com/office/officeart/2005/8/layout/vList5"/>
    <dgm:cxn modelId="{FCE95653-5188-4947-A92C-6CE64C1EEB93}" type="presOf" srcId="{673DD419-A7BB-4D71-9B9A-74FC697ABA5A}" destId="{E703C97D-3FA6-4B02-B5DB-D8F9896B4E74}" srcOrd="0" destOrd="1" presId="urn:microsoft.com/office/officeart/2005/8/layout/vList5"/>
    <dgm:cxn modelId="{68C8187A-5CF6-4D8D-BF2A-0AF51A22FD8D}" srcId="{E3C0883C-8CD1-460D-8627-DA1B6A435134}" destId="{0111A9D0-4EA4-4ECB-9403-72DD89DD4BB4}" srcOrd="0" destOrd="0" parTransId="{06D76CBA-59B5-45A3-8BE7-1ECDAA24443B}" sibTransId="{D3C38AFF-AE03-42B9-A283-D01010B3D2FE}"/>
    <dgm:cxn modelId="{43E4B27B-FAA5-4C2E-B033-7C75F1744FA5}" type="presOf" srcId="{5C017B2C-3345-4723-B4F9-5F0B1D7CA1FB}" destId="{A7E91A73-299E-4C90-8883-28F8F8CA2E4D}" srcOrd="0" destOrd="0" presId="urn:microsoft.com/office/officeart/2005/8/layout/vList5"/>
    <dgm:cxn modelId="{8BB2397F-3E09-4A8B-887B-AFCC6F6D4698}" type="presOf" srcId="{040668D5-D158-42FF-8A05-6227891BBE87}" destId="{14EDB1D3-1B6D-42F3-A18A-8F1B7C1B8D4F}" srcOrd="0" destOrd="0" presId="urn:microsoft.com/office/officeart/2005/8/layout/vList5"/>
    <dgm:cxn modelId="{8B9CDD84-197B-4447-9ECB-3C60A407F1B2}" srcId="{5C017B2C-3345-4723-B4F9-5F0B1D7CA1FB}" destId="{FA408BAE-16AC-4206-A1BB-BEFCAE9D0CD5}" srcOrd="0" destOrd="0" parTransId="{C2446EEB-09C8-42F9-9B81-6B6250EB3AEA}" sibTransId="{F7599045-B043-494B-B6ED-68D007A7E0F0}"/>
    <dgm:cxn modelId="{785C1D89-F8E6-4693-AEFA-3EDA38EE5991}" srcId="{040668D5-D158-42FF-8A05-6227891BBE87}" destId="{79B18C80-4D1A-4F7F-8F7E-71691977B534}" srcOrd="1" destOrd="0" parTransId="{E6DA37E3-A4F4-4E7A-B736-AC0F6CBDEBE3}" sibTransId="{21DCECC8-64BB-4F47-AE62-99D8EBA57685}"/>
    <dgm:cxn modelId="{E56DBB8E-A9CB-4E7E-BFD3-936E040F143A}" srcId="{16D26C6C-C57D-468F-8925-C2B31E465B5C}" destId="{E3C0883C-8CD1-460D-8627-DA1B6A435134}" srcOrd="3" destOrd="0" parTransId="{3B252554-04DB-4309-9FE1-5B6F070D6B27}" sibTransId="{BCCD7F17-65CD-4833-BE67-37BAFEAB7EFD}"/>
    <dgm:cxn modelId="{FCB9B3B1-142F-441B-B7B6-0AB40CA35E46}" type="presOf" srcId="{0111A9D0-4EA4-4ECB-9403-72DD89DD4BB4}" destId="{E703C97D-3FA6-4B02-B5DB-D8F9896B4E74}" srcOrd="0" destOrd="0" presId="urn:microsoft.com/office/officeart/2005/8/layout/vList5"/>
    <dgm:cxn modelId="{7460ECB6-9A21-4101-BF24-B314131B5DCB}" type="presOf" srcId="{14424429-C457-44B9-A919-74844DB70ACC}" destId="{F3B52152-8BE4-43A5-9164-5A2FE59E7C12}" srcOrd="0" destOrd="1" presId="urn:microsoft.com/office/officeart/2005/8/layout/vList5"/>
    <dgm:cxn modelId="{2FA659BB-1F43-481B-BC76-72D5A1836757}" type="presOf" srcId="{FA408BAE-16AC-4206-A1BB-BEFCAE9D0CD5}" destId="{F3B52152-8BE4-43A5-9164-5A2FE59E7C12}" srcOrd="0" destOrd="0" presId="urn:microsoft.com/office/officeart/2005/8/layout/vList5"/>
    <dgm:cxn modelId="{D2C2CFC7-3B44-4301-A91F-B1EF04BD3849}" type="presOf" srcId="{E3C0883C-8CD1-460D-8627-DA1B6A435134}" destId="{8E673850-EA23-40B8-AD3D-D7522D99D648}" srcOrd="0" destOrd="0" presId="urn:microsoft.com/office/officeart/2005/8/layout/vList5"/>
    <dgm:cxn modelId="{12B0A7D0-2230-4DE8-BFD5-AB625A0EA742}" type="presOf" srcId="{C4BEF1E5-5BCB-4C18-89DF-52CDE2A40D33}" destId="{8DD63552-03A9-4B58-92DC-A92FAE514C1F}" srcOrd="0" destOrd="2" presId="urn:microsoft.com/office/officeart/2005/8/layout/vList5"/>
    <dgm:cxn modelId="{518EF2D5-316A-46E4-8AD5-26F9CD3054D6}" srcId="{040668D5-D158-42FF-8A05-6227891BBE87}" destId="{C4BEF1E5-5BCB-4C18-89DF-52CDE2A40D33}" srcOrd="2" destOrd="0" parTransId="{8D33063C-2528-4272-BFBD-829C90A457B8}" sibTransId="{46CC95F0-7DC3-40B7-9B4D-FA871A78508D}"/>
    <dgm:cxn modelId="{1F76C0EF-A5A3-4671-9EAE-2F267ACDC4B1}" srcId="{5C017B2C-3345-4723-B4F9-5F0B1D7CA1FB}" destId="{14424429-C457-44B9-A919-74844DB70ACC}" srcOrd="1" destOrd="0" parTransId="{24F7A5B3-FA70-4858-AD29-AE3AC1942895}" sibTransId="{83F07B63-2711-474F-A878-5EF6ACA57965}"/>
    <dgm:cxn modelId="{617DFBF6-C75D-427B-A0E9-C0BB50B1BD55}" srcId="{16D26C6C-C57D-468F-8925-C2B31E465B5C}" destId="{040668D5-D158-42FF-8A05-6227891BBE87}" srcOrd="0" destOrd="0" parTransId="{3443D885-0BFF-4F5C-96E8-018D10A3184F}" sibTransId="{E30C5A61-97E7-43D2-8049-4E7D0380921E}"/>
    <dgm:cxn modelId="{4AB556FC-B5D4-4F79-8861-D7E894F66883}" srcId="{16D26C6C-C57D-468F-8925-C2B31E465B5C}" destId="{5C017B2C-3345-4723-B4F9-5F0B1D7CA1FB}" srcOrd="2" destOrd="0" parTransId="{B33C3E50-F690-4BED-A482-DE2206ED393C}" sibTransId="{ED84AF96-527A-42D0-B747-8BB34E159D81}"/>
    <dgm:cxn modelId="{B7852442-0313-4CB2-AE35-BE1201A2320C}" type="presParOf" srcId="{E59B607E-D7E8-4303-8EC9-9BE16B4A0A1E}" destId="{19E50DBC-E898-45D6-8AF0-A89C3ED2EAF7}" srcOrd="0" destOrd="0" presId="urn:microsoft.com/office/officeart/2005/8/layout/vList5"/>
    <dgm:cxn modelId="{B6A1C45B-0939-4C1F-A212-C6226C7FF42B}" type="presParOf" srcId="{19E50DBC-E898-45D6-8AF0-A89C3ED2EAF7}" destId="{14EDB1D3-1B6D-42F3-A18A-8F1B7C1B8D4F}" srcOrd="0" destOrd="0" presId="urn:microsoft.com/office/officeart/2005/8/layout/vList5"/>
    <dgm:cxn modelId="{AA0A9906-CA03-4A83-A98C-9EF9814EAA01}" type="presParOf" srcId="{19E50DBC-E898-45D6-8AF0-A89C3ED2EAF7}" destId="{8DD63552-03A9-4B58-92DC-A92FAE514C1F}" srcOrd="1" destOrd="0" presId="urn:microsoft.com/office/officeart/2005/8/layout/vList5"/>
    <dgm:cxn modelId="{404EA238-BC15-410C-97B2-4EC9CF01E4FA}" type="presParOf" srcId="{E59B607E-D7E8-4303-8EC9-9BE16B4A0A1E}" destId="{6DB81156-D2DD-4966-B9F5-536303F40B39}" srcOrd="1" destOrd="0" presId="urn:microsoft.com/office/officeart/2005/8/layout/vList5"/>
    <dgm:cxn modelId="{9C6600E3-44BD-4959-B8FD-E4BED3627733}" type="presParOf" srcId="{E59B607E-D7E8-4303-8EC9-9BE16B4A0A1E}" destId="{E06E13B5-21BA-4EB4-B5B4-A785370EB763}" srcOrd="2" destOrd="0" presId="urn:microsoft.com/office/officeart/2005/8/layout/vList5"/>
    <dgm:cxn modelId="{836081B2-5C14-4017-B02B-881594487C2D}" type="presParOf" srcId="{E06E13B5-21BA-4EB4-B5B4-A785370EB763}" destId="{1AF58E77-9F49-4F5F-B653-8F36EA006238}" srcOrd="0" destOrd="0" presId="urn:microsoft.com/office/officeart/2005/8/layout/vList5"/>
    <dgm:cxn modelId="{30BB054D-07C9-40FE-A6EF-48813886470F}" type="presParOf" srcId="{E06E13B5-21BA-4EB4-B5B4-A785370EB763}" destId="{E284ED2E-BE76-443D-9061-D1D23D755A4E}" srcOrd="1" destOrd="0" presId="urn:microsoft.com/office/officeart/2005/8/layout/vList5"/>
    <dgm:cxn modelId="{83B24B92-E283-420D-B185-3C4000AD1754}" type="presParOf" srcId="{E59B607E-D7E8-4303-8EC9-9BE16B4A0A1E}" destId="{C7153679-41C7-4AED-8B7F-1E575491F10D}" srcOrd="3" destOrd="0" presId="urn:microsoft.com/office/officeart/2005/8/layout/vList5"/>
    <dgm:cxn modelId="{30B051C2-CEC7-4CDB-B28C-87BC28F9E7A5}" type="presParOf" srcId="{E59B607E-D7E8-4303-8EC9-9BE16B4A0A1E}" destId="{2519D8DB-AD34-4835-A260-219FD79AA11B}" srcOrd="4" destOrd="0" presId="urn:microsoft.com/office/officeart/2005/8/layout/vList5"/>
    <dgm:cxn modelId="{B8B4648D-FAF3-4A56-A4C0-07CF9C956730}" type="presParOf" srcId="{2519D8DB-AD34-4835-A260-219FD79AA11B}" destId="{A7E91A73-299E-4C90-8883-28F8F8CA2E4D}" srcOrd="0" destOrd="0" presId="urn:microsoft.com/office/officeart/2005/8/layout/vList5"/>
    <dgm:cxn modelId="{297D8AF2-3F16-4B85-9BAF-8552F3DAE1E2}" type="presParOf" srcId="{2519D8DB-AD34-4835-A260-219FD79AA11B}" destId="{F3B52152-8BE4-43A5-9164-5A2FE59E7C12}" srcOrd="1" destOrd="0" presId="urn:microsoft.com/office/officeart/2005/8/layout/vList5"/>
    <dgm:cxn modelId="{BC50C131-E19F-4E1D-8532-A67354D9290B}" type="presParOf" srcId="{E59B607E-D7E8-4303-8EC9-9BE16B4A0A1E}" destId="{C4A00E4F-CFF9-4D9C-B86A-C09ABB0AA6E4}" srcOrd="5" destOrd="0" presId="urn:microsoft.com/office/officeart/2005/8/layout/vList5"/>
    <dgm:cxn modelId="{81A25B00-791B-41F4-8939-BDDA7D5D6569}" type="presParOf" srcId="{E59B607E-D7E8-4303-8EC9-9BE16B4A0A1E}" destId="{CA249A53-4EA1-4211-8140-687C88995B4C}" srcOrd="6" destOrd="0" presId="urn:microsoft.com/office/officeart/2005/8/layout/vList5"/>
    <dgm:cxn modelId="{67BBB184-2140-4B53-9F51-15AD7E9050E0}" type="presParOf" srcId="{CA249A53-4EA1-4211-8140-687C88995B4C}" destId="{8E673850-EA23-40B8-AD3D-D7522D99D648}" srcOrd="0" destOrd="0" presId="urn:microsoft.com/office/officeart/2005/8/layout/vList5"/>
    <dgm:cxn modelId="{FD9CE2E6-9AEE-4CAC-96D6-556074B4A406}" type="presParOf" srcId="{CA249A53-4EA1-4211-8140-687C88995B4C}" destId="{E703C97D-3FA6-4B02-B5DB-D8F9896B4E74}"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DB95185-5271-4537-9635-5B0B2AE2AA66}"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455C7050-1816-4F48-8137-089F75DCC4D1}">
      <dgm:prSet/>
      <dgm:spPr/>
      <dgm:t>
        <a:bodyPr/>
        <a:lstStyle/>
        <a:p>
          <a:r>
            <a:rPr lang="en-US" b="1" baseline="0"/>
            <a:t>Batch</a:t>
          </a:r>
          <a:endParaRPr lang="en-US"/>
        </a:p>
      </dgm:t>
    </dgm:pt>
    <dgm:pt modelId="{140DFF5B-9712-4D5E-B971-B2D9333DE225}" type="parTrans" cxnId="{D408DE9C-D54A-45E8-8F0D-EFB2939976E6}">
      <dgm:prSet/>
      <dgm:spPr/>
      <dgm:t>
        <a:bodyPr/>
        <a:lstStyle/>
        <a:p>
          <a:endParaRPr lang="en-US"/>
        </a:p>
      </dgm:t>
    </dgm:pt>
    <dgm:pt modelId="{26BE0BEE-35B6-4687-A137-39A9F0E44FBA}" type="sibTrans" cxnId="{D408DE9C-D54A-45E8-8F0D-EFB2939976E6}">
      <dgm:prSet/>
      <dgm:spPr/>
      <dgm:t>
        <a:bodyPr/>
        <a:lstStyle/>
        <a:p>
          <a:endParaRPr lang="en-US"/>
        </a:p>
      </dgm:t>
    </dgm:pt>
    <dgm:pt modelId="{C7E7001F-8E3F-40AA-B39E-B128BC5E5155}">
      <dgm:prSet/>
      <dgm:spPr/>
      <dgm:t>
        <a:bodyPr/>
        <a:lstStyle/>
        <a:p>
          <a:r>
            <a:rPr lang="en-US" baseline="0"/>
            <a:t>A statement or set of statements submitted to SQL Server by the user (a query), also referred to as a request</a:t>
          </a:r>
          <a:endParaRPr lang="en-US"/>
        </a:p>
      </dgm:t>
    </dgm:pt>
    <dgm:pt modelId="{7267E3B1-FC77-41D2-93E9-7304ED00CE69}" type="parTrans" cxnId="{996BC07D-949C-4D47-89BD-C2CCD3248FF0}">
      <dgm:prSet/>
      <dgm:spPr/>
      <dgm:t>
        <a:bodyPr/>
        <a:lstStyle/>
        <a:p>
          <a:endParaRPr lang="en-US"/>
        </a:p>
      </dgm:t>
    </dgm:pt>
    <dgm:pt modelId="{87ACAD42-5314-44B2-8461-D1B8F04E2D95}" type="sibTrans" cxnId="{996BC07D-949C-4D47-89BD-C2CCD3248FF0}">
      <dgm:prSet/>
      <dgm:spPr/>
      <dgm:t>
        <a:bodyPr/>
        <a:lstStyle/>
        <a:p>
          <a:endParaRPr lang="en-US"/>
        </a:p>
      </dgm:t>
    </dgm:pt>
    <dgm:pt modelId="{6B18C4C1-B91A-43CC-BAE6-BCF1D97F8FF1}">
      <dgm:prSet/>
      <dgm:spPr/>
      <dgm:t>
        <a:bodyPr/>
        <a:lstStyle/>
        <a:p>
          <a:r>
            <a:rPr lang="en-US" baseline="0"/>
            <a:t>Monitor with sys.dm_exec_requests </a:t>
          </a:r>
          <a:endParaRPr lang="en-US" dirty="0"/>
        </a:p>
      </dgm:t>
    </dgm:pt>
    <dgm:pt modelId="{307195AE-2FD3-42A8-9E7C-BF435BF82A39}" type="parTrans" cxnId="{F4D9E3EA-64BC-4DBB-85C0-D68C45E04AB1}">
      <dgm:prSet/>
      <dgm:spPr/>
      <dgm:t>
        <a:bodyPr/>
        <a:lstStyle/>
        <a:p>
          <a:endParaRPr lang="en-US"/>
        </a:p>
      </dgm:t>
    </dgm:pt>
    <dgm:pt modelId="{327B1A75-1710-4F59-B9BD-F05A6DDA723C}" type="sibTrans" cxnId="{F4D9E3EA-64BC-4DBB-85C0-D68C45E04AB1}">
      <dgm:prSet/>
      <dgm:spPr/>
      <dgm:t>
        <a:bodyPr/>
        <a:lstStyle/>
        <a:p>
          <a:endParaRPr lang="en-US"/>
        </a:p>
      </dgm:t>
    </dgm:pt>
    <dgm:pt modelId="{90FBFA1F-18D6-40CE-B8A8-39B75C20E60D}">
      <dgm:prSet/>
      <dgm:spPr/>
      <dgm:t>
        <a:bodyPr/>
        <a:lstStyle/>
        <a:p>
          <a:r>
            <a:rPr lang="en-US" b="1" baseline="0"/>
            <a:t>Task</a:t>
          </a:r>
          <a:endParaRPr lang="en-US"/>
        </a:p>
      </dgm:t>
    </dgm:pt>
    <dgm:pt modelId="{4B7B42D6-985B-42D7-9FB0-BE56B44766BC}" type="parTrans" cxnId="{DF812F31-C2A8-4346-857A-7F02EC4106F5}">
      <dgm:prSet/>
      <dgm:spPr/>
      <dgm:t>
        <a:bodyPr/>
        <a:lstStyle/>
        <a:p>
          <a:endParaRPr lang="en-US"/>
        </a:p>
      </dgm:t>
    </dgm:pt>
    <dgm:pt modelId="{86B88518-74DE-4258-9013-31B149B8779E}" type="sibTrans" cxnId="{DF812F31-C2A8-4346-857A-7F02EC4106F5}">
      <dgm:prSet/>
      <dgm:spPr/>
      <dgm:t>
        <a:bodyPr/>
        <a:lstStyle/>
        <a:p>
          <a:endParaRPr lang="en-US"/>
        </a:p>
      </dgm:t>
    </dgm:pt>
    <dgm:pt modelId="{2835D3F9-98AC-4FB0-A71C-2CE671F9A849}">
      <dgm:prSet/>
      <dgm:spPr/>
      <dgm:t>
        <a:bodyPr/>
        <a:lstStyle/>
        <a:p>
          <a:r>
            <a:rPr lang="en-US" baseline="0"/>
            <a:t>A batch will have one or more tasks (aligns with statements)</a:t>
          </a:r>
          <a:endParaRPr lang="en-US"/>
        </a:p>
      </dgm:t>
    </dgm:pt>
    <dgm:pt modelId="{EEFFA462-6F89-4EF0-B506-E8B31A5925BA}" type="parTrans" cxnId="{B3420FB6-F1B0-4132-B603-35E5771AC8B9}">
      <dgm:prSet/>
      <dgm:spPr/>
      <dgm:t>
        <a:bodyPr/>
        <a:lstStyle/>
        <a:p>
          <a:endParaRPr lang="en-US"/>
        </a:p>
      </dgm:t>
    </dgm:pt>
    <dgm:pt modelId="{88B397D5-9010-4D42-85F3-D48517906106}" type="sibTrans" cxnId="{B3420FB6-F1B0-4132-B603-35E5771AC8B9}">
      <dgm:prSet/>
      <dgm:spPr/>
      <dgm:t>
        <a:bodyPr/>
        <a:lstStyle/>
        <a:p>
          <a:endParaRPr lang="en-US"/>
        </a:p>
      </dgm:t>
    </dgm:pt>
    <dgm:pt modelId="{B2C13AC2-F70B-4249-8434-52E45A2187BA}">
      <dgm:prSet/>
      <dgm:spPr/>
      <dgm:t>
        <a:bodyPr/>
        <a:lstStyle/>
        <a:p>
          <a:r>
            <a:rPr lang="en-US" baseline="0" dirty="0"/>
            <a:t>Monitor with sys.dm_os_tasks</a:t>
          </a:r>
          <a:endParaRPr lang="en-US" dirty="0"/>
        </a:p>
      </dgm:t>
    </dgm:pt>
    <dgm:pt modelId="{4FCE17AC-4DB6-4EA0-B05F-0F5ADAF90099}" type="parTrans" cxnId="{77254CC4-4642-4CB3-A6F0-AAC184E66066}">
      <dgm:prSet/>
      <dgm:spPr/>
      <dgm:t>
        <a:bodyPr/>
        <a:lstStyle/>
        <a:p>
          <a:endParaRPr lang="en-US"/>
        </a:p>
      </dgm:t>
    </dgm:pt>
    <dgm:pt modelId="{04D7D795-73AC-40AC-87FD-68A06CBB2AB0}" type="sibTrans" cxnId="{77254CC4-4642-4CB3-A6F0-AAC184E66066}">
      <dgm:prSet/>
      <dgm:spPr/>
      <dgm:t>
        <a:bodyPr/>
        <a:lstStyle/>
        <a:p>
          <a:endParaRPr lang="en-US"/>
        </a:p>
      </dgm:t>
    </dgm:pt>
    <dgm:pt modelId="{37911ED4-3859-490A-B9A7-61D4FA5F442F}">
      <dgm:prSet/>
      <dgm:spPr/>
      <dgm:t>
        <a:bodyPr/>
        <a:lstStyle/>
        <a:p>
          <a:r>
            <a:rPr lang="en-US" b="1" baseline="0"/>
            <a:t>Worker</a:t>
          </a:r>
          <a:r>
            <a:rPr lang="en-US" baseline="0"/>
            <a:t> </a:t>
          </a:r>
          <a:r>
            <a:rPr lang="en-US" b="1" baseline="0"/>
            <a:t>Thread</a:t>
          </a:r>
          <a:endParaRPr lang="en-US"/>
        </a:p>
      </dgm:t>
    </dgm:pt>
    <dgm:pt modelId="{3F28786E-B68D-48C0-A4EF-DB2BFA11B92A}" type="parTrans" cxnId="{91B2AB04-81EB-42FE-B19A-BAABD9639A05}">
      <dgm:prSet/>
      <dgm:spPr/>
      <dgm:t>
        <a:bodyPr/>
        <a:lstStyle/>
        <a:p>
          <a:endParaRPr lang="en-US"/>
        </a:p>
      </dgm:t>
    </dgm:pt>
    <dgm:pt modelId="{FEBA6F1F-6E7B-42BF-9876-2E85BDB3DF61}" type="sibTrans" cxnId="{91B2AB04-81EB-42FE-B19A-BAABD9639A05}">
      <dgm:prSet/>
      <dgm:spPr/>
      <dgm:t>
        <a:bodyPr/>
        <a:lstStyle/>
        <a:p>
          <a:endParaRPr lang="en-US"/>
        </a:p>
      </dgm:t>
    </dgm:pt>
    <dgm:pt modelId="{F2BFC987-ADF0-4FBF-A12E-657A97CD0B2B}">
      <dgm:prSet/>
      <dgm:spPr/>
      <dgm:t>
        <a:bodyPr/>
        <a:lstStyle/>
        <a:p>
          <a:r>
            <a:rPr lang="en-US" baseline="0" dirty="0"/>
            <a:t>Each task will be assigned to a single worker thread for the life of the task</a:t>
          </a:r>
          <a:endParaRPr lang="en-US" dirty="0"/>
        </a:p>
      </dgm:t>
    </dgm:pt>
    <dgm:pt modelId="{D8D7E79C-124A-4354-9644-63A6B4302249}" type="parTrans" cxnId="{C552D862-D439-4DE8-A774-56E85F244B47}">
      <dgm:prSet/>
      <dgm:spPr/>
      <dgm:t>
        <a:bodyPr/>
        <a:lstStyle/>
        <a:p>
          <a:endParaRPr lang="en-US"/>
        </a:p>
      </dgm:t>
    </dgm:pt>
    <dgm:pt modelId="{5326DA49-DCE6-4A81-A919-0CDEDD8F85FC}" type="sibTrans" cxnId="{C552D862-D439-4DE8-A774-56E85F244B47}">
      <dgm:prSet/>
      <dgm:spPr/>
      <dgm:t>
        <a:bodyPr/>
        <a:lstStyle/>
        <a:p>
          <a:endParaRPr lang="en-US"/>
        </a:p>
      </dgm:t>
    </dgm:pt>
    <dgm:pt modelId="{0EECEF38-0FF6-4850-AE8C-837976071C75}">
      <dgm:prSet/>
      <dgm:spPr/>
      <dgm:t>
        <a:bodyPr/>
        <a:lstStyle/>
        <a:p>
          <a:r>
            <a:rPr lang="en-US" baseline="0" dirty="0"/>
            <a:t>Monitor with </a:t>
          </a:r>
          <a:r>
            <a:rPr lang="en-US" baseline="0" dirty="0" err="1"/>
            <a:t>sys.dm_os_workers</a:t>
          </a:r>
          <a:endParaRPr lang="en-US" dirty="0"/>
        </a:p>
      </dgm:t>
    </dgm:pt>
    <dgm:pt modelId="{7A1FE200-A22E-4E68-83D2-864D13D39FA0}" type="parTrans" cxnId="{081AB8D0-D6AD-4BDE-AF3D-2D0E063751DD}">
      <dgm:prSet/>
      <dgm:spPr/>
      <dgm:t>
        <a:bodyPr/>
        <a:lstStyle/>
        <a:p>
          <a:endParaRPr lang="en-US"/>
        </a:p>
      </dgm:t>
    </dgm:pt>
    <dgm:pt modelId="{0F6AA50D-E6FA-4877-A9F6-53CC5541A82C}" type="sibTrans" cxnId="{081AB8D0-D6AD-4BDE-AF3D-2D0E063751DD}">
      <dgm:prSet/>
      <dgm:spPr/>
      <dgm:t>
        <a:bodyPr/>
        <a:lstStyle/>
        <a:p>
          <a:endParaRPr lang="en-US"/>
        </a:p>
      </dgm:t>
    </dgm:pt>
    <dgm:pt modelId="{D3CBCC7D-C01A-4941-80CB-5C7B55B8B1BE}" type="pres">
      <dgm:prSet presAssocID="{EDB95185-5271-4537-9635-5B0B2AE2AA66}" presName="linear" presStyleCnt="0">
        <dgm:presLayoutVars>
          <dgm:animLvl val="lvl"/>
          <dgm:resizeHandles val="exact"/>
        </dgm:presLayoutVars>
      </dgm:prSet>
      <dgm:spPr/>
    </dgm:pt>
    <dgm:pt modelId="{389C90E9-1622-49BB-A182-28FAD8B80E3C}" type="pres">
      <dgm:prSet presAssocID="{455C7050-1816-4F48-8137-089F75DCC4D1}" presName="parentText" presStyleLbl="node1" presStyleIdx="0" presStyleCnt="3">
        <dgm:presLayoutVars>
          <dgm:chMax val="0"/>
          <dgm:bulletEnabled val="1"/>
        </dgm:presLayoutVars>
      </dgm:prSet>
      <dgm:spPr/>
    </dgm:pt>
    <dgm:pt modelId="{C4D172BD-3A27-46B8-886B-891BF3BE8CB8}" type="pres">
      <dgm:prSet presAssocID="{455C7050-1816-4F48-8137-089F75DCC4D1}" presName="childText" presStyleLbl="revTx" presStyleIdx="0" presStyleCnt="3">
        <dgm:presLayoutVars>
          <dgm:bulletEnabled val="1"/>
        </dgm:presLayoutVars>
      </dgm:prSet>
      <dgm:spPr/>
    </dgm:pt>
    <dgm:pt modelId="{5DD6315D-A3AF-4A66-B6E1-1F576C5DD880}" type="pres">
      <dgm:prSet presAssocID="{90FBFA1F-18D6-40CE-B8A8-39B75C20E60D}" presName="parentText" presStyleLbl="node1" presStyleIdx="1" presStyleCnt="3">
        <dgm:presLayoutVars>
          <dgm:chMax val="0"/>
          <dgm:bulletEnabled val="1"/>
        </dgm:presLayoutVars>
      </dgm:prSet>
      <dgm:spPr/>
    </dgm:pt>
    <dgm:pt modelId="{49F8B814-6CBE-4CAF-B0B6-2B5768970CEB}" type="pres">
      <dgm:prSet presAssocID="{90FBFA1F-18D6-40CE-B8A8-39B75C20E60D}" presName="childText" presStyleLbl="revTx" presStyleIdx="1" presStyleCnt="3">
        <dgm:presLayoutVars>
          <dgm:bulletEnabled val="1"/>
        </dgm:presLayoutVars>
      </dgm:prSet>
      <dgm:spPr/>
    </dgm:pt>
    <dgm:pt modelId="{CB7BEE8D-BC86-4209-BE73-55173F086263}" type="pres">
      <dgm:prSet presAssocID="{37911ED4-3859-490A-B9A7-61D4FA5F442F}" presName="parentText" presStyleLbl="node1" presStyleIdx="2" presStyleCnt="3">
        <dgm:presLayoutVars>
          <dgm:chMax val="0"/>
          <dgm:bulletEnabled val="1"/>
        </dgm:presLayoutVars>
      </dgm:prSet>
      <dgm:spPr/>
    </dgm:pt>
    <dgm:pt modelId="{89DE0FF6-00AD-4E7B-A269-DE37D9E8D853}" type="pres">
      <dgm:prSet presAssocID="{37911ED4-3859-490A-B9A7-61D4FA5F442F}" presName="childText" presStyleLbl="revTx" presStyleIdx="2" presStyleCnt="3">
        <dgm:presLayoutVars>
          <dgm:bulletEnabled val="1"/>
        </dgm:presLayoutVars>
      </dgm:prSet>
      <dgm:spPr/>
    </dgm:pt>
  </dgm:ptLst>
  <dgm:cxnLst>
    <dgm:cxn modelId="{91B2AB04-81EB-42FE-B19A-BAABD9639A05}" srcId="{EDB95185-5271-4537-9635-5B0B2AE2AA66}" destId="{37911ED4-3859-490A-B9A7-61D4FA5F442F}" srcOrd="2" destOrd="0" parTransId="{3F28786E-B68D-48C0-A4EF-DB2BFA11B92A}" sibTransId="{FEBA6F1F-6E7B-42BF-9876-2E85BDB3DF61}"/>
    <dgm:cxn modelId="{4FEF7506-0013-4759-A168-F5B663BFB9C8}" type="presOf" srcId="{455C7050-1816-4F48-8137-089F75DCC4D1}" destId="{389C90E9-1622-49BB-A182-28FAD8B80E3C}" srcOrd="0" destOrd="0" presId="urn:microsoft.com/office/officeart/2005/8/layout/vList2"/>
    <dgm:cxn modelId="{DF812F31-C2A8-4346-857A-7F02EC4106F5}" srcId="{EDB95185-5271-4537-9635-5B0B2AE2AA66}" destId="{90FBFA1F-18D6-40CE-B8A8-39B75C20E60D}" srcOrd="1" destOrd="0" parTransId="{4B7B42D6-985B-42D7-9FB0-BE56B44766BC}" sibTransId="{86B88518-74DE-4258-9013-31B149B8779E}"/>
    <dgm:cxn modelId="{0A1A6836-7E5B-4D4B-9EF3-3F0D5FE1BC49}" type="presOf" srcId="{B2C13AC2-F70B-4249-8434-52E45A2187BA}" destId="{49F8B814-6CBE-4CAF-B0B6-2B5768970CEB}" srcOrd="0" destOrd="1" presId="urn:microsoft.com/office/officeart/2005/8/layout/vList2"/>
    <dgm:cxn modelId="{9EECED3C-0EF5-4AB9-8B94-C7B2EF601779}" type="presOf" srcId="{C7E7001F-8E3F-40AA-B39E-B128BC5E5155}" destId="{C4D172BD-3A27-46B8-886B-891BF3BE8CB8}" srcOrd="0" destOrd="0" presId="urn:microsoft.com/office/officeart/2005/8/layout/vList2"/>
    <dgm:cxn modelId="{321C705C-5972-4E36-AA8F-3191BE964E99}" type="presOf" srcId="{37911ED4-3859-490A-B9A7-61D4FA5F442F}" destId="{CB7BEE8D-BC86-4209-BE73-55173F086263}" srcOrd="0" destOrd="0" presId="urn:microsoft.com/office/officeart/2005/8/layout/vList2"/>
    <dgm:cxn modelId="{C552D862-D439-4DE8-A774-56E85F244B47}" srcId="{37911ED4-3859-490A-B9A7-61D4FA5F442F}" destId="{F2BFC987-ADF0-4FBF-A12E-657A97CD0B2B}" srcOrd="0" destOrd="0" parTransId="{D8D7E79C-124A-4354-9644-63A6B4302249}" sibTransId="{5326DA49-DCE6-4A81-A919-0CDEDD8F85FC}"/>
    <dgm:cxn modelId="{EA14914D-B89A-427A-8DED-38BA5885ED1D}" type="presOf" srcId="{90FBFA1F-18D6-40CE-B8A8-39B75C20E60D}" destId="{5DD6315D-A3AF-4A66-B6E1-1F576C5DD880}" srcOrd="0" destOrd="0" presId="urn:microsoft.com/office/officeart/2005/8/layout/vList2"/>
    <dgm:cxn modelId="{996BC07D-949C-4D47-89BD-C2CCD3248FF0}" srcId="{455C7050-1816-4F48-8137-089F75DCC4D1}" destId="{C7E7001F-8E3F-40AA-B39E-B128BC5E5155}" srcOrd="0" destOrd="0" parTransId="{7267E3B1-FC77-41D2-93E9-7304ED00CE69}" sibTransId="{87ACAD42-5314-44B2-8461-D1B8F04E2D95}"/>
    <dgm:cxn modelId="{D408DE9C-D54A-45E8-8F0D-EFB2939976E6}" srcId="{EDB95185-5271-4537-9635-5B0B2AE2AA66}" destId="{455C7050-1816-4F48-8137-089F75DCC4D1}" srcOrd="0" destOrd="0" parTransId="{140DFF5B-9712-4D5E-B971-B2D9333DE225}" sibTransId="{26BE0BEE-35B6-4687-A137-39A9F0E44FBA}"/>
    <dgm:cxn modelId="{B3420FB6-F1B0-4132-B603-35E5771AC8B9}" srcId="{90FBFA1F-18D6-40CE-B8A8-39B75C20E60D}" destId="{2835D3F9-98AC-4FB0-A71C-2CE671F9A849}" srcOrd="0" destOrd="0" parTransId="{EEFFA462-6F89-4EF0-B506-E8B31A5925BA}" sibTransId="{88B397D5-9010-4D42-85F3-D48517906106}"/>
    <dgm:cxn modelId="{AFC81BB9-A77C-497D-926B-968597638BFA}" type="presOf" srcId="{0EECEF38-0FF6-4850-AE8C-837976071C75}" destId="{89DE0FF6-00AD-4E7B-A269-DE37D9E8D853}" srcOrd="0" destOrd="1" presId="urn:microsoft.com/office/officeart/2005/8/layout/vList2"/>
    <dgm:cxn modelId="{702CB3BF-923A-4EB0-B2E0-2D2EB0462671}" type="presOf" srcId="{2835D3F9-98AC-4FB0-A71C-2CE671F9A849}" destId="{49F8B814-6CBE-4CAF-B0B6-2B5768970CEB}" srcOrd="0" destOrd="0" presId="urn:microsoft.com/office/officeart/2005/8/layout/vList2"/>
    <dgm:cxn modelId="{77254CC4-4642-4CB3-A6F0-AAC184E66066}" srcId="{90FBFA1F-18D6-40CE-B8A8-39B75C20E60D}" destId="{B2C13AC2-F70B-4249-8434-52E45A2187BA}" srcOrd="1" destOrd="0" parTransId="{4FCE17AC-4DB6-4EA0-B05F-0F5ADAF90099}" sibTransId="{04D7D795-73AC-40AC-87FD-68A06CBB2AB0}"/>
    <dgm:cxn modelId="{9A4A13C5-0EC0-469E-AE22-00C84D050CFA}" type="presOf" srcId="{6B18C4C1-B91A-43CC-BAE6-BCF1D97F8FF1}" destId="{C4D172BD-3A27-46B8-886B-891BF3BE8CB8}" srcOrd="0" destOrd="1" presId="urn:microsoft.com/office/officeart/2005/8/layout/vList2"/>
    <dgm:cxn modelId="{36A658C9-F1A6-4DE0-B00D-36E0431106CA}" type="presOf" srcId="{EDB95185-5271-4537-9635-5B0B2AE2AA66}" destId="{D3CBCC7D-C01A-4941-80CB-5C7B55B8B1BE}" srcOrd="0" destOrd="0" presId="urn:microsoft.com/office/officeart/2005/8/layout/vList2"/>
    <dgm:cxn modelId="{BEF877CC-02F8-4860-A0C1-32A97BD98FB0}" type="presOf" srcId="{F2BFC987-ADF0-4FBF-A12E-657A97CD0B2B}" destId="{89DE0FF6-00AD-4E7B-A269-DE37D9E8D853}" srcOrd="0" destOrd="0" presId="urn:microsoft.com/office/officeart/2005/8/layout/vList2"/>
    <dgm:cxn modelId="{081AB8D0-D6AD-4BDE-AF3D-2D0E063751DD}" srcId="{37911ED4-3859-490A-B9A7-61D4FA5F442F}" destId="{0EECEF38-0FF6-4850-AE8C-837976071C75}" srcOrd="1" destOrd="0" parTransId="{7A1FE200-A22E-4E68-83D2-864D13D39FA0}" sibTransId="{0F6AA50D-E6FA-4877-A9F6-53CC5541A82C}"/>
    <dgm:cxn modelId="{F4D9E3EA-64BC-4DBB-85C0-D68C45E04AB1}" srcId="{455C7050-1816-4F48-8137-089F75DCC4D1}" destId="{6B18C4C1-B91A-43CC-BAE6-BCF1D97F8FF1}" srcOrd="1" destOrd="0" parTransId="{307195AE-2FD3-42A8-9E7C-BF435BF82A39}" sibTransId="{327B1A75-1710-4F59-B9BD-F05A6DDA723C}"/>
    <dgm:cxn modelId="{421EA9E0-2DC9-46CC-A3C4-835AC61B9BEF}" type="presParOf" srcId="{D3CBCC7D-C01A-4941-80CB-5C7B55B8B1BE}" destId="{389C90E9-1622-49BB-A182-28FAD8B80E3C}" srcOrd="0" destOrd="0" presId="urn:microsoft.com/office/officeart/2005/8/layout/vList2"/>
    <dgm:cxn modelId="{67BB2E8C-4E01-4B80-83B3-6E9ACECC4BB4}" type="presParOf" srcId="{D3CBCC7D-C01A-4941-80CB-5C7B55B8B1BE}" destId="{C4D172BD-3A27-46B8-886B-891BF3BE8CB8}" srcOrd="1" destOrd="0" presId="urn:microsoft.com/office/officeart/2005/8/layout/vList2"/>
    <dgm:cxn modelId="{23937501-D582-4ADD-B72B-F300A0C32D92}" type="presParOf" srcId="{D3CBCC7D-C01A-4941-80CB-5C7B55B8B1BE}" destId="{5DD6315D-A3AF-4A66-B6E1-1F576C5DD880}" srcOrd="2" destOrd="0" presId="urn:microsoft.com/office/officeart/2005/8/layout/vList2"/>
    <dgm:cxn modelId="{FE60F8A2-AB64-461C-90C8-C3ED612662B7}" type="presParOf" srcId="{D3CBCC7D-C01A-4941-80CB-5C7B55B8B1BE}" destId="{49F8B814-6CBE-4CAF-B0B6-2B5768970CEB}" srcOrd="3" destOrd="0" presId="urn:microsoft.com/office/officeart/2005/8/layout/vList2"/>
    <dgm:cxn modelId="{FBCAD441-CECF-47E8-8C3A-EB0AECDB85E1}" type="presParOf" srcId="{D3CBCC7D-C01A-4941-80CB-5C7B55B8B1BE}" destId="{CB7BEE8D-BC86-4209-BE73-55173F086263}" srcOrd="4" destOrd="0" presId="urn:microsoft.com/office/officeart/2005/8/layout/vList2"/>
    <dgm:cxn modelId="{B75C2454-2C3F-4B03-8E63-AF24C8065D41}" type="presParOf" srcId="{D3CBCC7D-C01A-4941-80CB-5C7B55B8B1BE}" destId="{89DE0FF6-00AD-4E7B-A269-DE37D9E8D853}"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478CB21-7384-4F8A-AAC1-E532EE0AE983}" type="doc">
      <dgm:prSet loTypeId="urn:microsoft.com/office/officeart/2005/8/layout/hProcess9" loCatId="process" qsTypeId="urn:microsoft.com/office/officeart/2005/8/quickstyle/simple1" qsCatId="simple" csTypeId="urn:microsoft.com/office/officeart/2005/8/colors/colorful4" csCatId="colorful" phldr="1"/>
      <dgm:spPr/>
      <dgm:t>
        <a:bodyPr/>
        <a:lstStyle/>
        <a:p>
          <a:endParaRPr lang="pt-PT"/>
        </a:p>
      </dgm:t>
    </dgm:pt>
    <dgm:pt modelId="{FC7B1511-3A33-44B9-8AEA-BD322C8ABC42}">
      <dgm:prSet phldrT="[Text]" custT="1"/>
      <dgm:spPr>
        <a:solidFill>
          <a:schemeClr val="accent4"/>
        </a:solidFill>
      </dgm:spPr>
      <dgm:t>
        <a:bodyPr/>
        <a:lstStyle/>
        <a:p>
          <a:r>
            <a:rPr lang="en-US" sz="2000" dirty="0"/>
            <a:t>Connection</a:t>
          </a:r>
          <a:endParaRPr lang="pt-PT" sz="2000" dirty="0"/>
        </a:p>
      </dgm:t>
    </dgm:pt>
    <dgm:pt modelId="{628E838E-F31F-41C2-8364-8ABDCDD9912E}" type="parTrans" cxnId="{59627CC9-D47D-4A53-A41A-D59C816FD42D}">
      <dgm:prSet/>
      <dgm:spPr/>
      <dgm:t>
        <a:bodyPr/>
        <a:lstStyle/>
        <a:p>
          <a:endParaRPr lang="pt-PT"/>
        </a:p>
      </dgm:t>
    </dgm:pt>
    <dgm:pt modelId="{388B623E-04F9-46C7-A45D-EF337BBEEF83}" type="sibTrans" cxnId="{59627CC9-D47D-4A53-A41A-D59C816FD42D}">
      <dgm:prSet/>
      <dgm:spPr/>
      <dgm:t>
        <a:bodyPr/>
        <a:lstStyle/>
        <a:p>
          <a:endParaRPr lang="pt-PT"/>
        </a:p>
      </dgm:t>
    </dgm:pt>
    <dgm:pt modelId="{66987BBC-3471-4150-9F5C-F778BBA0A137}">
      <dgm:prSet phldrT="[Text]" custT="1"/>
      <dgm:spPr>
        <a:solidFill>
          <a:schemeClr val="accent2">
            <a:lumMod val="40000"/>
            <a:lumOff val="60000"/>
          </a:schemeClr>
        </a:solidFill>
      </dgm:spPr>
      <dgm:t>
        <a:bodyPr/>
        <a:lstStyle/>
        <a:p>
          <a:r>
            <a:rPr lang="en-US" sz="2000"/>
            <a:t>Session</a:t>
          </a:r>
          <a:endParaRPr lang="pt-PT" sz="2000"/>
        </a:p>
      </dgm:t>
    </dgm:pt>
    <dgm:pt modelId="{C6BAFA7E-E634-43C8-85FE-C6A590BB3CB0}" type="parTrans" cxnId="{982628CB-527F-463C-8FF9-F1FA9416776D}">
      <dgm:prSet/>
      <dgm:spPr/>
      <dgm:t>
        <a:bodyPr/>
        <a:lstStyle/>
        <a:p>
          <a:endParaRPr lang="pt-PT"/>
        </a:p>
      </dgm:t>
    </dgm:pt>
    <dgm:pt modelId="{8675F458-0DFD-4268-B8C7-3E8DF99F5B17}" type="sibTrans" cxnId="{982628CB-527F-463C-8FF9-F1FA9416776D}">
      <dgm:prSet/>
      <dgm:spPr>
        <a:solidFill>
          <a:schemeClr val="accent2">
            <a:lumMod val="40000"/>
            <a:lumOff val="60000"/>
          </a:schemeClr>
        </a:solidFill>
      </dgm:spPr>
      <dgm:t>
        <a:bodyPr/>
        <a:lstStyle/>
        <a:p>
          <a:endParaRPr lang="pt-PT"/>
        </a:p>
      </dgm:t>
    </dgm:pt>
    <dgm:pt modelId="{F2A15F07-707D-483F-8A0F-0A49F70C02FB}">
      <dgm:prSet phldrT="[Text]" custT="1"/>
      <dgm:spPr>
        <a:solidFill>
          <a:schemeClr val="accent1"/>
        </a:solidFill>
      </dgm:spPr>
      <dgm:t>
        <a:bodyPr/>
        <a:lstStyle/>
        <a:p>
          <a:r>
            <a:rPr lang="en-US" sz="2000" dirty="0"/>
            <a:t>Request</a:t>
          </a:r>
          <a:br>
            <a:rPr lang="en-US" sz="2000" dirty="0"/>
          </a:br>
          <a:r>
            <a:rPr lang="en-US" sz="2000" dirty="0"/>
            <a:t>(Batch)</a:t>
          </a:r>
          <a:endParaRPr lang="pt-PT" sz="2000" dirty="0"/>
        </a:p>
      </dgm:t>
    </dgm:pt>
    <dgm:pt modelId="{F11AE9AB-499F-435D-8BF8-68B50D5DDB97}" type="parTrans" cxnId="{08E07E93-21E0-4A3E-A2C5-FFA5EEFEBFAF}">
      <dgm:prSet/>
      <dgm:spPr/>
      <dgm:t>
        <a:bodyPr/>
        <a:lstStyle/>
        <a:p>
          <a:endParaRPr lang="pt-PT"/>
        </a:p>
      </dgm:t>
    </dgm:pt>
    <dgm:pt modelId="{C66DD131-A80D-4D01-B283-AB4518FB98E2}" type="sibTrans" cxnId="{08E07E93-21E0-4A3E-A2C5-FFA5EEFEBFAF}">
      <dgm:prSet/>
      <dgm:spPr/>
      <dgm:t>
        <a:bodyPr/>
        <a:lstStyle/>
        <a:p>
          <a:endParaRPr lang="pt-PT"/>
        </a:p>
      </dgm:t>
    </dgm:pt>
    <dgm:pt modelId="{24E759A5-BE25-4188-B932-E08BFACB3B55}">
      <dgm:prSet custT="1"/>
      <dgm:spPr>
        <a:solidFill>
          <a:schemeClr val="accent1">
            <a:lumMod val="40000"/>
            <a:lumOff val="60000"/>
          </a:schemeClr>
        </a:solidFill>
      </dgm:spPr>
      <dgm:t>
        <a:bodyPr/>
        <a:lstStyle/>
        <a:p>
          <a:r>
            <a:rPr lang="en-US" sz="2000" dirty="0"/>
            <a:t>Task</a:t>
          </a:r>
          <a:endParaRPr lang="pt-PT" sz="2000" dirty="0"/>
        </a:p>
      </dgm:t>
    </dgm:pt>
    <dgm:pt modelId="{B2456013-8A65-4DA4-AC85-6CCB1962325F}" type="parTrans" cxnId="{3D74092C-F2F3-4024-BDFA-0E535578CF3B}">
      <dgm:prSet/>
      <dgm:spPr/>
      <dgm:t>
        <a:bodyPr/>
        <a:lstStyle/>
        <a:p>
          <a:endParaRPr lang="pt-PT"/>
        </a:p>
      </dgm:t>
    </dgm:pt>
    <dgm:pt modelId="{009E0244-4723-402A-9E97-01F666612B24}" type="sibTrans" cxnId="{3D74092C-F2F3-4024-BDFA-0E535578CF3B}">
      <dgm:prSet/>
      <dgm:spPr>
        <a:solidFill>
          <a:schemeClr val="accent1">
            <a:lumMod val="40000"/>
            <a:lumOff val="60000"/>
          </a:schemeClr>
        </a:solidFill>
      </dgm:spPr>
      <dgm:t>
        <a:bodyPr/>
        <a:lstStyle/>
        <a:p>
          <a:endParaRPr lang="pt-PT"/>
        </a:p>
      </dgm:t>
    </dgm:pt>
    <dgm:pt modelId="{56704810-C057-4CB3-BC18-27F67573D324}">
      <dgm:prSet custT="1"/>
      <dgm:spPr/>
      <dgm:t>
        <a:bodyPr/>
        <a:lstStyle/>
        <a:p>
          <a:r>
            <a:rPr lang="en-US" sz="2000" dirty="0"/>
            <a:t>Worker</a:t>
          </a:r>
          <a:endParaRPr lang="pt-PT" sz="2000" dirty="0"/>
        </a:p>
      </dgm:t>
    </dgm:pt>
    <dgm:pt modelId="{21EC2C12-9111-41F1-A2A9-9FD80738DB08}" type="parTrans" cxnId="{EDCA4C7C-9006-449A-B3B1-09CF10CB7695}">
      <dgm:prSet/>
      <dgm:spPr/>
      <dgm:t>
        <a:bodyPr/>
        <a:lstStyle/>
        <a:p>
          <a:endParaRPr lang="pt-PT"/>
        </a:p>
      </dgm:t>
    </dgm:pt>
    <dgm:pt modelId="{190261C6-6BA1-48C9-B557-70BA23E66985}" type="sibTrans" cxnId="{EDCA4C7C-9006-449A-B3B1-09CF10CB7695}">
      <dgm:prSet/>
      <dgm:spPr/>
      <dgm:t>
        <a:bodyPr/>
        <a:lstStyle/>
        <a:p>
          <a:endParaRPr lang="pt-PT"/>
        </a:p>
      </dgm:t>
    </dgm:pt>
    <dgm:pt modelId="{BFBC580D-D6FC-4443-82BE-9EA34E8F729A}" type="pres">
      <dgm:prSet presAssocID="{1478CB21-7384-4F8A-AAC1-E532EE0AE983}" presName="CompostProcess" presStyleCnt="0">
        <dgm:presLayoutVars>
          <dgm:dir/>
          <dgm:resizeHandles val="exact"/>
        </dgm:presLayoutVars>
      </dgm:prSet>
      <dgm:spPr/>
    </dgm:pt>
    <dgm:pt modelId="{7B8051FB-BC62-46CE-B64B-C20C26FF8733}" type="pres">
      <dgm:prSet presAssocID="{1478CB21-7384-4F8A-AAC1-E532EE0AE983}" presName="arrow" presStyleLbl="bgShp" presStyleIdx="0" presStyleCnt="1"/>
      <dgm:spPr/>
    </dgm:pt>
    <dgm:pt modelId="{7FEAE74A-FBAB-4FE9-B0CE-9E549684AB8A}" type="pres">
      <dgm:prSet presAssocID="{1478CB21-7384-4F8A-AAC1-E532EE0AE983}" presName="linearProcess" presStyleCnt="0"/>
      <dgm:spPr/>
    </dgm:pt>
    <dgm:pt modelId="{B566A5F5-F633-42FA-B00A-F889EE627FCA}" type="pres">
      <dgm:prSet presAssocID="{FC7B1511-3A33-44B9-8AEA-BD322C8ABC42}" presName="textNode" presStyleLbl="node1" presStyleIdx="0" presStyleCnt="5">
        <dgm:presLayoutVars>
          <dgm:bulletEnabled val="1"/>
        </dgm:presLayoutVars>
      </dgm:prSet>
      <dgm:spPr/>
    </dgm:pt>
    <dgm:pt modelId="{EE810E18-6471-4FEC-9886-B9AAA370ADFC}" type="pres">
      <dgm:prSet presAssocID="{388B623E-04F9-46C7-A45D-EF337BBEEF83}" presName="sibTrans" presStyleCnt="0"/>
      <dgm:spPr/>
    </dgm:pt>
    <dgm:pt modelId="{EE391E63-3232-4590-967C-50A8A5755BEA}" type="pres">
      <dgm:prSet presAssocID="{66987BBC-3471-4150-9F5C-F778BBA0A137}" presName="textNode" presStyleLbl="node1" presStyleIdx="1" presStyleCnt="5">
        <dgm:presLayoutVars>
          <dgm:bulletEnabled val="1"/>
        </dgm:presLayoutVars>
      </dgm:prSet>
      <dgm:spPr/>
    </dgm:pt>
    <dgm:pt modelId="{AF0F5439-2B66-42B8-AE12-8B1EF574367B}" type="pres">
      <dgm:prSet presAssocID="{8675F458-0DFD-4268-B8C7-3E8DF99F5B17}" presName="sibTrans" presStyleCnt="0"/>
      <dgm:spPr/>
    </dgm:pt>
    <dgm:pt modelId="{0DA0DEB4-C604-4F8B-A20B-AA42D9467CA9}" type="pres">
      <dgm:prSet presAssocID="{F2A15F07-707D-483F-8A0F-0A49F70C02FB}" presName="textNode" presStyleLbl="node1" presStyleIdx="2" presStyleCnt="5">
        <dgm:presLayoutVars>
          <dgm:bulletEnabled val="1"/>
        </dgm:presLayoutVars>
      </dgm:prSet>
      <dgm:spPr/>
    </dgm:pt>
    <dgm:pt modelId="{2D0EDADD-F4C4-4DBE-80C8-73060F5E266C}" type="pres">
      <dgm:prSet presAssocID="{C66DD131-A80D-4D01-B283-AB4518FB98E2}" presName="sibTrans" presStyleCnt="0"/>
      <dgm:spPr/>
    </dgm:pt>
    <dgm:pt modelId="{AF20E609-485D-42B7-B807-368444824392}" type="pres">
      <dgm:prSet presAssocID="{24E759A5-BE25-4188-B932-E08BFACB3B55}" presName="textNode" presStyleLbl="node1" presStyleIdx="3" presStyleCnt="5">
        <dgm:presLayoutVars>
          <dgm:bulletEnabled val="1"/>
        </dgm:presLayoutVars>
      </dgm:prSet>
      <dgm:spPr/>
    </dgm:pt>
    <dgm:pt modelId="{C304D529-7D65-4266-8FB6-D89969CB784E}" type="pres">
      <dgm:prSet presAssocID="{009E0244-4723-402A-9E97-01F666612B24}" presName="sibTrans" presStyleCnt="0"/>
      <dgm:spPr/>
    </dgm:pt>
    <dgm:pt modelId="{A751D8E3-2DEF-45E7-8417-EFB716BD6F51}" type="pres">
      <dgm:prSet presAssocID="{56704810-C057-4CB3-BC18-27F67573D324}" presName="textNode" presStyleLbl="node1" presStyleIdx="4" presStyleCnt="5">
        <dgm:presLayoutVars>
          <dgm:bulletEnabled val="1"/>
        </dgm:presLayoutVars>
      </dgm:prSet>
      <dgm:spPr/>
    </dgm:pt>
  </dgm:ptLst>
  <dgm:cxnLst>
    <dgm:cxn modelId="{26AE7524-524C-4223-A924-2EEA17BF037A}" type="presOf" srcId="{66987BBC-3471-4150-9F5C-F778BBA0A137}" destId="{EE391E63-3232-4590-967C-50A8A5755BEA}" srcOrd="0" destOrd="0" presId="urn:microsoft.com/office/officeart/2005/8/layout/hProcess9"/>
    <dgm:cxn modelId="{1A7A7C27-DE68-43C3-9050-EFAE16E74DD2}" type="presOf" srcId="{24E759A5-BE25-4188-B932-E08BFACB3B55}" destId="{AF20E609-485D-42B7-B807-368444824392}" srcOrd="0" destOrd="0" presId="urn:microsoft.com/office/officeart/2005/8/layout/hProcess9"/>
    <dgm:cxn modelId="{3D74092C-F2F3-4024-BDFA-0E535578CF3B}" srcId="{1478CB21-7384-4F8A-AAC1-E532EE0AE983}" destId="{24E759A5-BE25-4188-B932-E08BFACB3B55}" srcOrd="3" destOrd="0" parTransId="{B2456013-8A65-4DA4-AC85-6CCB1962325F}" sibTransId="{009E0244-4723-402A-9E97-01F666612B24}"/>
    <dgm:cxn modelId="{F558016A-C8D9-4A73-8738-F3ACC3D4BC95}" type="presOf" srcId="{FC7B1511-3A33-44B9-8AEA-BD322C8ABC42}" destId="{B566A5F5-F633-42FA-B00A-F889EE627FCA}" srcOrd="0" destOrd="0" presId="urn:microsoft.com/office/officeart/2005/8/layout/hProcess9"/>
    <dgm:cxn modelId="{EDCA4C7C-9006-449A-B3B1-09CF10CB7695}" srcId="{1478CB21-7384-4F8A-AAC1-E532EE0AE983}" destId="{56704810-C057-4CB3-BC18-27F67573D324}" srcOrd="4" destOrd="0" parTransId="{21EC2C12-9111-41F1-A2A9-9FD80738DB08}" sibTransId="{190261C6-6BA1-48C9-B557-70BA23E66985}"/>
    <dgm:cxn modelId="{08E07E93-21E0-4A3E-A2C5-FFA5EEFEBFAF}" srcId="{1478CB21-7384-4F8A-AAC1-E532EE0AE983}" destId="{F2A15F07-707D-483F-8A0F-0A49F70C02FB}" srcOrd="2" destOrd="0" parTransId="{F11AE9AB-499F-435D-8BF8-68B50D5DDB97}" sibTransId="{C66DD131-A80D-4D01-B283-AB4518FB98E2}"/>
    <dgm:cxn modelId="{0881D69F-79CF-4766-907D-E4650D6F8A2A}" type="presOf" srcId="{56704810-C057-4CB3-BC18-27F67573D324}" destId="{A751D8E3-2DEF-45E7-8417-EFB716BD6F51}" srcOrd="0" destOrd="0" presId="urn:microsoft.com/office/officeart/2005/8/layout/hProcess9"/>
    <dgm:cxn modelId="{C67955B9-78CE-4A8E-9354-2BDD7D4FD281}" type="presOf" srcId="{F2A15F07-707D-483F-8A0F-0A49F70C02FB}" destId="{0DA0DEB4-C604-4F8B-A20B-AA42D9467CA9}" srcOrd="0" destOrd="0" presId="urn:microsoft.com/office/officeart/2005/8/layout/hProcess9"/>
    <dgm:cxn modelId="{59627CC9-D47D-4A53-A41A-D59C816FD42D}" srcId="{1478CB21-7384-4F8A-AAC1-E532EE0AE983}" destId="{FC7B1511-3A33-44B9-8AEA-BD322C8ABC42}" srcOrd="0" destOrd="0" parTransId="{628E838E-F31F-41C2-8364-8ABDCDD9912E}" sibTransId="{388B623E-04F9-46C7-A45D-EF337BBEEF83}"/>
    <dgm:cxn modelId="{982628CB-527F-463C-8FF9-F1FA9416776D}" srcId="{1478CB21-7384-4F8A-AAC1-E532EE0AE983}" destId="{66987BBC-3471-4150-9F5C-F778BBA0A137}" srcOrd="1" destOrd="0" parTransId="{C6BAFA7E-E634-43C8-85FE-C6A590BB3CB0}" sibTransId="{8675F458-0DFD-4268-B8C7-3E8DF99F5B17}"/>
    <dgm:cxn modelId="{42E90FFE-01FC-4041-B4A9-E54246371965}" type="presOf" srcId="{1478CB21-7384-4F8A-AAC1-E532EE0AE983}" destId="{BFBC580D-D6FC-4443-82BE-9EA34E8F729A}" srcOrd="0" destOrd="0" presId="urn:microsoft.com/office/officeart/2005/8/layout/hProcess9"/>
    <dgm:cxn modelId="{AF3D9725-4EDE-4856-A300-B89D9E3B600E}" type="presParOf" srcId="{BFBC580D-D6FC-4443-82BE-9EA34E8F729A}" destId="{7B8051FB-BC62-46CE-B64B-C20C26FF8733}" srcOrd="0" destOrd="0" presId="urn:microsoft.com/office/officeart/2005/8/layout/hProcess9"/>
    <dgm:cxn modelId="{E62F566A-9089-4D39-9BFD-152CE5E46E84}" type="presParOf" srcId="{BFBC580D-D6FC-4443-82BE-9EA34E8F729A}" destId="{7FEAE74A-FBAB-4FE9-B0CE-9E549684AB8A}" srcOrd="1" destOrd="0" presId="urn:microsoft.com/office/officeart/2005/8/layout/hProcess9"/>
    <dgm:cxn modelId="{142E7D8E-72DA-493E-BE48-B3CE261CAC64}" type="presParOf" srcId="{7FEAE74A-FBAB-4FE9-B0CE-9E549684AB8A}" destId="{B566A5F5-F633-42FA-B00A-F889EE627FCA}" srcOrd="0" destOrd="0" presId="urn:microsoft.com/office/officeart/2005/8/layout/hProcess9"/>
    <dgm:cxn modelId="{AF351E9F-27AF-425D-B526-D152F7857AC1}" type="presParOf" srcId="{7FEAE74A-FBAB-4FE9-B0CE-9E549684AB8A}" destId="{EE810E18-6471-4FEC-9886-B9AAA370ADFC}" srcOrd="1" destOrd="0" presId="urn:microsoft.com/office/officeart/2005/8/layout/hProcess9"/>
    <dgm:cxn modelId="{B539ECA0-E5CC-4FAD-8553-D06B87F5B849}" type="presParOf" srcId="{7FEAE74A-FBAB-4FE9-B0CE-9E549684AB8A}" destId="{EE391E63-3232-4590-967C-50A8A5755BEA}" srcOrd="2" destOrd="0" presId="urn:microsoft.com/office/officeart/2005/8/layout/hProcess9"/>
    <dgm:cxn modelId="{7A47D70F-8DB2-42D0-B0CE-B70550A39BE3}" type="presParOf" srcId="{7FEAE74A-FBAB-4FE9-B0CE-9E549684AB8A}" destId="{AF0F5439-2B66-42B8-AE12-8B1EF574367B}" srcOrd="3" destOrd="0" presId="urn:microsoft.com/office/officeart/2005/8/layout/hProcess9"/>
    <dgm:cxn modelId="{02039857-09A7-4A41-A96F-0E2403F45DFD}" type="presParOf" srcId="{7FEAE74A-FBAB-4FE9-B0CE-9E549684AB8A}" destId="{0DA0DEB4-C604-4F8B-A20B-AA42D9467CA9}" srcOrd="4" destOrd="0" presId="urn:microsoft.com/office/officeart/2005/8/layout/hProcess9"/>
    <dgm:cxn modelId="{15288E7E-571E-4446-AFE6-E0035E8451B7}" type="presParOf" srcId="{7FEAE74A-FBAB-4FE9-B0CE-9E549684AB8A}" destId="{2D0EDADD-F4C4-4DBE-80C8-73060F5E266C}" srcOrd="5" destOrd="0" presId="urn:microsoft.com/office/officeart/2005/8/layout/hProcess9"/>
    <dgm:cxn modelId="{FBCE4382-3E88-4AF9-AF93-6D1740818710}" type="presParOf" srcId="{7FEAE74A-FBAB-4FE9-B0CE-9E549684AB8A}" destId="{AF20E609-485D-42B7-B807-368444824392}" srcOrd="6" destOrd="0" presId="urn:microsoft.com/office/officeart/2005/8/layout/hProcess9"/>
    <dgm:cxn modelId="{CDB880E3-8E61-4AAF-8346-EBD6E95A22F0}" type="presParOf" srcId="{7FEAE74A-FBAB-4FE9-B0CE-9E549684AB8A}" destId="{C304D529-7D65-4266-8FB6-D89969CB784E}" srcOrd="7" destOrd="0" presId="urn:microsoft.com/office/officeart/2005/8/layout/hProcess9"/>
    <dgm:cxn modelId="{2666447A-817A-41FE-9F21-9DDDC6579DE1}" type="presParOf" srcId="{7FEAE74A-FBAB-4FE9-B0CE-9E549684AB8A}" destId="{A751D8E3-2DEF-45E7-8417-EFB716BD6F51}" srcOrd="8"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BD1C3B3-C3A0-45CD-A9EB-4E436EE19D03}"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C38DD189-FE8B-42E3-B853-F430A9C9296B}">
      <dgm:prSet custT="1"/>
      <dgm:spPr/>
      <dgm:t>
        <a:bodyPr/>
        <a:lstStyle/>
        <a:p>
          <a:r>
            <a:rPr lang="pt-PT" sz="2400" b="1" baseline="0" dirty="0"/>
            <a:t>Non-Preemptive (Cooperative)</a:t>
          </a:r>
          <a:endParaRPr lang="en-US" sz="2400" dirty="0"/>
        </a:p>
      </dgm:t>
    </dgm:pt>
    <dgm:pt modelId="{DE08E7CB-3F47-4673-A80F-23C070AF3C7E}" type="parTrans" cxnId="{1B0A6CC5-A86A-47F0-B94D-DEF189EF7556}">
      <dgm:prSet/>
      <dgm:spPr/>
      <dgm:t>
        <a:bodyPr/>
        <a:lstStyle/>
        <a:p>
          <a:endParaRPr lang="en-US"/>
        </a:p>
      </dgm:t>
    </dgm:pt>
    <dgm:pt modelId="{70CB49B7-A2E6-491E-AD36-E007836B2C4D}" type="sibTrans" cxnId="{1B0A6CC5-A86A-47F0-B94D-DEF189EF7556}">
      <dgm:prSet/>
      <dgm:spPr/>
      <dgm:t>
        <a:bodyPr/>
        <a:lstStyle/>
        <a:p>
          <a:endParaRPr lang="en-US"/>
        </a:p>
      </dgm:t>
    </dgm:pt>
    <dgm:pt modelId="{CA3E7416-E740-4B29-AD08-8AEC1CEACE3E}">
      <dgm:prSet custT="1"/>
      <dgm:spPr/>
      <dgm:t>
        <a:bodyPr/>
        <a:lstStyle/>
        <a:p>
          <a:r>
            <a:rPr lang="en-US" sz="2400" baseline="0" dirty="0"/>
            <a:t>SQL Server manages CPU scheduling for most activity (instead of the operating system).</a:t>
          </a:r>
          <a:endParaRPr lang="en-US" sz="2400" dirty="0"/>
        </a:p>
      </dgm:t>
    </dgm:pt>
    <dgm:pt modelId="{C23059B4-A535-493F-8631-6DC19B39968B}" type="parTrans" cxnId="{073ECC03-E292-4650-A0C1-989C5FAFD053}">
      <dgm:prSet/>
      <dgm:spPr/>
      <dgm:t>
        <a:bodyPr/>
        <a:lstStyle/>
        <a:p>
          <a:endParaRPr lang="en-US"/>
        </a:p>
      </dgm:t>
    </dgm:pt>
    <dgm:pt modelId="{B561FAEF-C618-4CD7-A34C-785E8D676AC8}" type="sibTrans" cxnId="{073ECC03-E292-4650-A0C1-989C5FAFD053}">
      <dgm:prSet/>
      <dgm:spPr/>
      <dgm:t>
        <a:bodyPr/>
        <a:lstStyle/>
        <a:p>
          <a:endParaRPr lang="en-US"/>
        </a:p>
      </dgm:t>
    </dgm:pt>
    <dgm:pt modelId="{1828CFFB-223A-4F55-99FA-4915CCA54AC1}">
      <dgm:prSet custT="1"/>
      <dgm:spPr/>
      <dgm:t>
        <a:bodyPr/>
        <a:lstStyle/>
        <a:p>
          <a:r>
            <a:rPr lang="en-US" sz="2400" baseline="0" dirty="0"/>
            <a:t>SQL Server decides when a thread should wait or get switched out (known as yielding).</a:t>
          </a:r>
          <a:endParaRPr lang="en-US" sz="2400" dirty="0"/>
        </a:p>
      </dgm:t>
    </dgm:pt>
    <dgm:pt modelId="{9CA0C35E-21AD-4A75-9DA8-3A84441EEB41}" type="parTrans" cxnId="{C1D657B7-B2A6-4D42-86E5-FAD0022B11DD}">
      <dgm:prSet/>
      <dgm:spPr/>
      <dgm:t>
        <a:bodyPr/>
        <a:lstStyle/>
        <a:p>
          <a:endParaRPr lang="en-US"/>
        </a:p>
      </dgm:t>
    </dgm:pt>
    <dgm:pt modelId="{0A5CD043-37DB-46B6-AFA7-3452A4FD7471}" type="sibTrans" cxnId="{C1D657B7-B2A6-4D42-86E5-FAD0022B11DD}">
      <dgm:prSet/>
      <dgm:spPr/>
      <dgm:t>
        <a:bodyPr/>
        <a:lstStyle/>
        <a:p>
          <a:endParaRPr lang="en-US"/>
        </a:p>
      </dgm:t>
    </dgm:pt>
    <dgm:pt modelId="{BB899681-E992-4766-872D-713AC8550504}">
      <dgm:prSet custT="1"/>
      <dgm:spPr/>
      <dgm:t>
        <a:bodyPr/>
        <a:lstStyle/>
        <a:p>
          <a:r>
            <a:rPr lang="en-US" sz="2400" b="1" baseline="0" dirty="0"/>
            <a:t>Preemptive</a:t>
          </a:r>
          <a:r>
            <a:rPr lang="en-US" sz="2800" baseline="0" dirty="0"/>
            <a:t> </a:t>
          </a:r>
          <a:endParaRPr lang="en-US" sz="2800" dirty="0"/>
        </a:p>
      </dgm:t>
    </dgm:pt>
    <dgm:pt modelId="{E502549D-4218-41DA-9E8E-BB2B3BBDEC28}" type="parTrans" cxnId="{9E0601FF-4BF8-4873-B4E8-4250CFBF436D}">
      <dgm:prSet/>
      <dgm:spPr/>
      <dgm:t>
        <a:bodyPr/>
        <a:lstStyle/>
        <a:p>
          <a:endParaRPr lang="en-US"/>
        </a:p>
      </dgm:t>
    </dgm:pt>
    <dgm:pt modelId="{7F4A27E6-8103-42AD-866E-D258F450CC2F}" type="sibTrans" cxnId="{9E0601FF-4BF8-4873-B4E8-4250CFBF436D}">
      <dgm:prSet/>
      <dgm:spPr/>
      <dgm:t>
        <a:bodyPr/>
        <a:lstStyle/>
        <a:p>
          <a:endParaRPr lang="en-US"/>
        </a:p>
      </dgm:t>
    </dgm:pt>
    <dgm:pt modelId="{8B4E88CA-A340-4F72-93FD-EF78ED48CDAC}">
      <dgm:prSet custT="1"/>
      <dgm:spPr/>
      <dgm:t>
        <a:bodyPr/>
        <a:lstStyle/>
        <a:p>
          <a:r>
            <a:rPr lang="en-US" sz="2400" baseline="0" dirty="0"/>
            <a:t>Preemption is the act of an operating system temporarily interrupting an executing task.</a:t>
          </a:r>
          <a:endParaRPr lang="en-US" sz="2400" dirty="0"/>
        </a:p>
      </dgm:t>
    </dgm:pt>
    <dgm:pt modelId="{EE3CEB9F-3BA0-4273-9283-BC80AC6D0613}" type="parTrans" cxnId="{4C03F4E1-72D9-4CC0-BD85-A22E7816274F}">
      <dgm:prSet/>
      <dgm:spPr/>
      <dgm:t>
        <a:bodyPr/>
        <a:lstStyle/>
        <a:p>
          <a:endParaRPr lang="en-US"/>
        </a:p>
      </dgm:t>
    </dgm:pt>
    <dgm:pt modelId="{B81D6DA6-2B1B-47C7-BAC4-C0EB13E63947}" type="sibTrans" cxnId="{4C03F4E1-72D9-4CC0-BD85-A22E7816274F}">
      <dgm:prSet/>
      <dgm:spPr/>
      <dgm:t>
        <a:bodyPr/>
        <a:lstStyle/>
        <a:p>
          <a:endParaRPr lang="en-US"/>
        </a:p>
      </dgm:t>
    </dgm:pt>
    <dgm:pt modelId="{5187997F-2F44-4D16-A896-FC8788D8141C}">
      <dgm:prSet custT="1"/>
      <dgm:spPr/>
      <dgm:t>
        <a:bodyPr/>
        <a:lstStyle/>
        <a:p>
          <a:r>
            <a:rPr lang="en-US" sz="2400" baseline="0" dirty="0"/>
            <a:t>Higher priority tasks can preempt lower priority tasks.</a:t>
          </a:r>
          <a:endParaRPr lang="en-US" sz="2400" dirty="0"/>
        </a:p>
      </dgm:t>
    </dgm:pt>
    <dgm:pt modelId="{538FCD6F-0744-4CC7-9D3D-EC688193A0CE}" type="parTrans" cxnId="{04CEB867-0D24-421B-8FB8-19082B28F177}">
      <dgm:prSet/>
      <dgm:spPr/>
      <dgm:t>
        <a:bodyPr/>
        <a:lstStyle/>
        <a:p>
          <a:endParaRPr lang="en-US"/>
        </a:p>
      </dgm:t>
    </dgm:pt>
    <dgm:pt modelId="{A9A85C5A-BBB7-4ACC-BB76-1092069BCB23}" type="sibTrans" cxnId="{04CEB867-0D24-421B-8FB8-19082B28F177}">
      <dgm:prSet/>
      <dgm:spPr/>
      <dgm:t>
        <a:bodyPr/>
        <a:lstStyle/>
        <a:p>
          <a:endParaRPr lang="en-US"/>
        </a:p>
      </dgm:t>
    </dgm:pt>
    <dgm:pt modelId="{389811CB-2B8A-441B-AD7A-10440AB7D33D}">
      <dgm:prSet custT="1"/>
      <dgm:spPr/>
      <dgm:t>
        <a:bodyPr/>
        <a:lstStyle/>
        <a:p>
          <a:pPr>
            <a:buChar char="•"/>
          </a:pPr>
          <a:r>
            <a:rPr lang="en-US" sz="2400" dirty="0">
              <a:latin typeface="Segoe UI"/>
              <a:ea typeface="+mn-ea"/>
              <a:cs typeface="+mn-cs"/>
            </a:rPr>
            <a:t>SQL Server developers also programmed some predetermined voluntary yields to avoid starvation of other threads</a:t>
          </a:r>
          <a:endParaRPr lang="en-US" sz="2400" dirty="0"/>
        </a:p>
      </dgm:t>
    </dgm:pt>
    <dgm:pt modelId="{A21EF7EE-6968-4070-9DCE-DFBCD3D5E8B3}" type="parTrans" cxnId="{7A70C368-3E7A-4D4F-8E91-DFD53EA9A257}">
      <dgm:prSet/>
      <dgm:spPr/>
      <dgm:t>
        <a:bodyPr/>
        <a:lstStyle/>
        <a:p>
          <a:endParaRPr lang="en-US"/>
        </a:p>
      </dgm:t>
    </dgm:pt>
    <dgm:pt modelId="{995347F4-D85A-455E-9C70-AF8A3F4129A5}" type="sibTrans" cxnId="{7A70C368-3E7A-4D4F-8E91-DFD53EA9A257}">
      <dgm:prSet/>
      <dgm:spPr/>
      <dgm:t>
        <a:bodyPr/>
        <a:lstStyle/>
        <a:p>
          <a:endParaRPr lang="en-US"/>
        </a:p>
      </dgm:t>
    </dgm:pt>
    <dgm:pt modelId="{95DBB61B-AA53-4EDE-8183-5C3AD459312F}">
      <dgm:prSet custT="1"/>
      <dgm:spPr/>
      <dgm:t>
        <a:bodyPr/>
        <a:lstStyle/>
        <a:p>
          <a:pPr>
            <a:buChar char="•"/>
          </a:pPr>
          <a:r>
            <a:rPr lang="en-US" sz="2400" dirty="0">
              <a:latin typeface="Segoe UI"/>
              <a:ea typeface="+mn-ea"/>
              <a:cs typeface="+mn-cs"/>
            </a:rPr>
            <a:t>Preemptive mode used in SQL Server for external code calls, CLR with an UNSAFE assemblies, extended stored procedures</a:t>
          </a:r>
          <a:endParaRPr lang="en-US" sz="2400" dirty="0"/>
        </a:p>
      </dgm:t>
    </dgm:pt>
    <dgm:pt modelId="{1D1AC66E-57DF-4ABB-850D-F0320D2DA4A7}" type="parTrans" cxnId="{7323B7FB-2BD2-49A8-A2B7-EC2B689750F1}">
      <dgm:prSet/>
      <dgm:spPr/>
      <dgm:t>
        <a:bodyPr/>
        <a:lstStyle/>
        <a:p>
          <a:endParaRPr lang="en-US"/>
        </a:p>
      </dgm:t>
    </dgm:pt>
    <dgm:pt modelId="{D4425678-012A-4AD7-BBEA-ED41C18CE838}" type="sibTrans" cxnId="{7323B7FB-2BD2-49A8-A2B7-EC2B689750F1}">
      <dgm:prSet/>
      <dgm:spPr/>
      <dgm:t>
        <a:bodyPr/>
        <a:lstStyle/>
        <a:p>
          <a:endParaRPr lang="en-US"/>
        </a:p>
      </dgm:t>
    </dgm:pt>
    <dgm:pt modelId="{C92DFE4C-54C8-4857-8CD5-DA2B6465E88B}" type="pres">
      <dgm:prSet presAssocID="{FBD1C3B3-C3A0-45CD-A9EB-4E436EE19D03}" presName="Name0" presStyleCnt="0">
        <dgm:presLayoutVars>
          <dgm:dir/>
          <dgm:animLvl val="lvl"/>
          <dgm:resizeHandles val="exact"/>
        </dgm:presLayoutVars>
      </dgm:prSet>
      <dgm:spPr/>
    </dgm:pt>
    <dgm:pt modelId="{6865943E-FDB4-4D20-A718-4839AE79AFDF}" type="pres">
      <dgm:prSet presAssocID="{C38DD189-FE8B-42E3-B853-F430A9C9296B}" presName="composite" presStyleCnt="0"/>
      <dgm:spPr/>
    </dgm:pt>
    <dgm:pt modelId="{00C8B9F4-C07B-4BDB-9B02-274228176F65}" type="pres">
      <dgm:prSet presAssocID="{C38DD189-FE8B-42E3-B853-F430A9C9296B}" presName="parTx" presStyleLbl="alignNode1" presStyleIdx="0" presStyleCnt="2">
        <dgm:presLayoutVars>
          <dgm:chMax val="0"/>
          <dgm:chPref val="0"/>
          <dgm:bulletEnabled val="1"/>
        </dgm:presLayoutVars>
      </dgm:prSet>
      <dgm:spPr/>
    </dgm:pt>
    <dgm:pt modelId="{9FA56444-34EE-48AD-9C14-1833291B460E}" type="pres">
      <dgm:prSet presAssocID="{C38DD189-FE8B-42E3-B853-F430A9C9296B}" presName="desTx" presStyleLbl="alignAccFollowNode1" presStyleIdx="0" presStyleCnt="2">
        <dgm:presLayoutVars>
          <dgm:bulletEnabled val="1"/>
        </dgm:presLayoutVars>
      </dgm:prSet>
      <dgm:spPr/>
    </dgm:pt>
    <dgm:pt modelId="{E802CA59-E719-461C-A8DF-2E3B9A157C7C}" type="pres">
      <dgm:prSet presAssocID="{70CB49B7-A2E6-491E-AD36-E007836B2C4D}" presName="space" presStyleCnt="0"/>
      <dgm:spPr/>
    </dgm:pt>
    <dgm:pt modelId="{6DF05E5B-E21D-429E-9468-9311526424E3}" type="pres">
      <dgm:prSet presAssocID="{BB899681-E992-4766-872D-713AC8550504}" presName="composite" presStyleCnt="0"/>
      <dgm:spPr/>
    </dgm:pt>
    <dgm:pt modelId="{A1C057C1-A8F1-4BFB-83F1-EF0CC59B6251}" type="pres">
      <dgm:prSet presAssocID="{BB899681-E992-4766-872D-713AC8550504}" presName="parTx" presStyleLbl="alignNode1" presStyleIdx="1" presStyleCnt="2">
        <dgm:presLayoutVars>
          <dgm:chMax val="0"/>
          <dgm:chPref val="0"/>
          <dgm:bulletEnabled val="1"/>
        </dgm:presLayoutVars>
      </dgm:prSet>
      <dgm:spPr/>
    </dgm:pt>
    <dgm:pt modelId="{669EB5CF-7E72-43BF-A8B8-27435BB06C03}" type="pres">
      <dgm:prSet presAssocID="{BB899681-E992-4766-872D-713AC8550504}" presName="desTx" presStyleLbl="alignAccFollowNode1" presStyleIdx="1" presStyleCnt="2">
        <dgm:presLayoutVars>
          <dgm:bulletEnabled val="1"/>
        </dgm:presLayoutVars>
      </dgm:prSet>
      <dgm:spPr/>
    </dgm:pt>
  </dgm:ptLst>
  <dgm:cxnLst>
    <dgm:cxn modelId="{073ECC03-E292-4650-A0C1-989C5FAFD053}" srcId="{C38DD189-FE8B-42E3-B853-F430A9C9296B}" destId="{CA3E7416-E740-4B29-AD08-8AEC1CEACE3E}" srcOrd="0" destOrd="0" parTransId="{C23059B4-A535-493F-8631-6DC19B39968B}" sibTransId="{B561FAEF-C618-4CD7-A34C-785E8D676AC8}"/>
    <dgm:cxn modelId="{B4583019-34DC-4133-9E24-27F72B98C444}" type="presOf" srcId="{CA3E7416-E740-4B29-AD08-8AEC1CEACE3E}" destId="{9FA56444-34EE-48AD-9C14-1833291B460E}" srcOrd="0" destOrd="0" presId="urn:microsoft.com/office/officeart/2005/8/layout/hList1"/>
    <dgm:cxn modelId="{15EDD72E-687C-45E7-B17C-097AFCE7F83D}" type="presOf" srcId="{C38DD189-FE8B-42E3-B853-F430A9C9296B}" destId="{00C8B9F4-C07B-4BDB-9B02-274228176F65}" srcOrd="0" destOrd="0" presId="urn:microsoft.com/office/officeart/2005/8/layout/hList1"/>
    <dgm:cxn modelId="{9E208167-1891-4281-B2C9-42851071E118}" type="presOf" srcId="{8B4E88CA-A340-4F72-93FD-EF78ED48CDAC}" destId="{669EB5CF-7E72-43BF-A8B8-27435BB06C03}" srcOrd="0" destOrd="0" presId="urn:microsoft.com/office/officeart/2005/8/layout/hList1"/>
    <dgm:cxn modelId="{04CEB867-0D24-421B-8FB8-19082B28F177}" srcId="{BB899681-E992-4766-872D-713AC8550504}" destId="{5187997F-2F44-4D16-A896-FC8788D8141C}" srcOrd="1" destOrd="0" parTransId="{538FCD6F-0744-4CC7-9D3D-EC688193A0CE}" sibTransId="{A9A85C5A-BBB7-4ACC-BB76-1092069BCB23}"/>
    <dgm:cxn modelId="{7A70C368-3E7A-4D4F-8E91-DFD53EA9A257}" srcId="{C38DD189-FE8B-42E3-B853-F430A9C9296B}" destId="{389811CB-2B8A-441B-AD7A-10440AB7D33D}" srcOrd="2" destOrd="0" parTransId="{A21EF7EE-6968-4070-9DCE-DFBCD3D5E8B3}" sibTransId="{995347F4-D85A-455E-9C70-AF8A3F4129A5}"/>
    <dgm:cxn modelId="{D5274272-B685-4881-B379-0776CCE2037E}" type="presOf" srcId="{389811CB-2B8A-441B-AD7A-10440AB7D33D}" destId="{9FA56444-34EE-48AD-9C14-1833291B460E}" srcOrd="0" destOrd="2" presId="urn:microsoft.com/office/officeart/2005/8/layout/hList1"/>
    <dgm:cxn modelId="{56C44C53-8681-4543-9BAA-10BE552696B1}" type="presOf" srcId="{1828CFFB-223A-4F55-99FA-4915CCA54AC1}" destId="{9FA56444-34EE-48AD-9C14-1833291B460E}" srcOrd="0" destOrd="1" presId="urn:microsoft.com/office/officeart/2005/8/layout/hList1"/>
    <dgm:cxn modelId="{C1D657B7-B2A6-4D42-86E5-FAD0022B11DD}" srcId="{C38DD189-FE8B-42E3-B853-F430A9C9296B}" destId="{1828CFFB-223A-4F55-99FA-4915CCA54AC1}" srcOrd="1" destOrd="0" parTransId="{9CA0C35E-21AD-4A75-9DA8-3A84441EEB41}" sibTransId="{0A5CD043-37DB-46B6-AFA7-3452A4FD7471}"/>
    <dgm:cxn modelId="{E1EA87B8-E756-4E25-942B-4ED2EBF3005A}" type="presOf" srcId="{5187997F-2F44-4D16-A896-FC8788D8141C}" destId="{669EB5CF-7E72-43BF-A8B8-27435BB06C03}" srcOrd="0" destOrd="1" presId="urn:microsoft.com/office/officeart/2005/8/layout/hList1"/>
    <dgm:cxn modelId="{1B0A6CC5-A86A-47F0-B94D-DEF189EF7556}" srcId="{FBD1C3B3-C3A0-45CD-A9EB-4E436EE19D03}" destId="{C38DD189-FE8B-42E3-B853-F430A9C9296B}" srcOrd="0" destOrd="0" parTransId="{DE08E7CB-3F47-4673-A80F-23C070AF3C7E}" sibTransId="{70CB49B7-A2E6-491E-AD36-E007836B2C4D}"/>
    <dgm:cxn modelId="{46A378CA-DB38-48D0-B5C3-30D9BF0F17B5}" type="presOf" srcId="{95DBB61B-AA53-4EDE-8183-5C3AD459312F}" destId="{669EB5CF-7E72-43BF-A8B8-27435BB06C03}" srcOrd="0" destOrd="2" presId="urn:microsoft.com/office/officeart/2005/8/layout/hList1"/>
    <dgm:cxn modelId="{A38E64CE-BBB5-4B26-9F03-13B8B16B2F68}" type="presOf" srcId="{FBD1C3B3-C3A0-45CD-A9EB-4E436EE19D03}" destId="{C92DFE4C-54C8-4857-8CD5-DA2B6465E88B}" srcOrd="0" destOrd="0" presId="urn:microsoft.com/office/officeart/2005/8/layout/hList1"/>
    <dgm:cxn modelId="{4C03F4E1-72D9-4CC0-BD85-A22E7816274F}" srcId="{BB899681-E992-4766-872D-713AC8550504}" destId="{8B4E88CA-A340-4F72-93FD-EF78ED48CDAC}" srcOrd="0" destOrd="0" parTransId="{EE3CEB9F-3BA0-4273-9283-BC80AC6D0613}" sibTransId="{B81D6DA6-2B1B-47C7-BAC4-C0EB13E63947}"/>
    <dgm:cxn modelId="{F8303DFB-0477-4122-BC64-5150E85E30C1}" type="presOf" srcId="{BB899681-E992-4766-872D-713AC8550504}" destId="{A1C057C1-A8F1-4BFB-83F1-EF0CC59B6251}" srcOrd="0" destOrd="0" presId="urn:microsoft.com/office/officeart/2005/8/layout/hList1"/>
    <dgm:cxn modelId="{7323B7FB-2BD2-49A8-A2B7-EC2B689750F1}" srcId="{BB899681-E992-4766-872D-713AC8550504}" destId="{95DBB61B-AA53-4EDE-8183-5C3AD459312F}" srcOrd="2" destOrd="0" parTransId="{1D1AC66E-57DF-4ABB-850D-F0320D2DA4A7}" sibTransId="{D4425678-012A-4AD7-BBEA-ED41C18CE838}"/>
    <dgm:cxn modelId="{9E0601FF-4BF8-4873-B4E8-4250CFBF436D}" srcId="{FBD1C3B3-C3A0-45CD-A9EB-4E436EE19D03}" destId="{BB899681-E992-4766-872D-713AC8550504}" srcOrd="1" destOrd="0" parTransId="{E502549D-4218-41DA-9E8E-BB2B3BBDEC28}" sibTransId="{7F4A27E6-8103-42AD-866E-D258F450CC2F}"/>
    <dgm:cxn modelId="{60EF5692-46CC-41CD-87DC-AA81D88832E0}" type="presParOf" srcId="{C92DFE4C-54C8-4857-8CD5-DA2B6465E88B}" destId="{6865943E-FDB4-4D20-A718-4839AE79AFDF}" srcOrd="0" destOrd="0" presId="urn:microsoft.com/office/officeart/2005/8/layout/hList1"/>
    <dgm:cxn modelId="{9A4BA303-FA6F-4B70-BA20-035DE8A7646F}" type="presParOf" srcId="{6865943E-FDB4-4D20-A718-4839AE79AFDF}" destId="{00C8B9F4-C07B-4BDB-9B02-274228176F65}" srcOrd="0" destOrd="0" presId="urn:microsoft.com/office/officeart/2005/8/layout/hList1"/>
    <dgm:cxn modelId="{1A557EFC-4A22-4A71-AE16-4D30370EF29A}" type="presParOf" srcId="{6865943E-FDB4-4D20-A718-4839AE79AFDF}" destId="{9FA56444-34EE-48AD-9C14-1833291B460E}" srcOrd="1" destOrd="0" presId="urn:microsoft.com/office/officeart/2005/8/layout/hList1"/>
    <dgm:cxn modelId="{AF2AC046-FED3-4A53-A8FA-92D9785AEA4C}" type="presParOf" srcId="{C92DFE4C-54C8-4857-8CD5-DA2B6465E88B}" destId="{E802CA59-E719-461C-A8DF-2E3B9A157C7C}" srcOrd="1" destOrd="0" presId="urn:microsoft.com/office/officeart/2005/8/layout/hList1"/>
    <dgm:cxn modelId="{DE35CC58-12C3-4AEB-8C78-D5F4ED3DC2FB}" type="presParOf" srcId="{C92DFE4C-54C8-4857-8CD5-DA2B6465E88B}" destId="{6DF05E5B-E21D-429E-9468-9311526424E3}" srcOrd="2" destOrd="0" presId="urn:microsoft.com/office/officeart/2005/8/layout/hList1"/>
    <dgm:cxn modelId="{4F492C33-15CB-46B1-8281-1B8CD51BCC4C}" type="presParOf" srcId="{6DF05E5B-E21D-429E-9468-9311526424E3}" destId="{A1C057C1-A8F1-4BFB-83F1-EF0CC59B6251}" srcOrd="0" destOrd="0" presId="urn:microsoft.com/office/officeart/2005/8/layout/hList1"/>
    <dgm:cxn modelId="{011C091F-EEF3-4229-916D-5A0399BE7271}" type="presParOf" srcId="{6DF05E5B-E21D-429E-9468-9311526424E3}" destId="{669EB5CF-7E72-43BF-A8B8-27435BB06C03}"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D60EFF4-D938-4C7D-8C75-4F48077ADE4B}"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1EF52BFB-82DC-40DB-9A2B-16EFAC64D021}">
      <dgm:prSet/>
      <dgm:spPr/>
      <dgm:t>
        <a:bodyPr/>
        <a:lstStyle/>
        <a:p>
          <a:r>
            <a:rPr lang="en-US" baseline="0"/>
            <a:t>One SQLOS Scheduler per core/logical processor</a:t>
          </a:r>
          <a:endParaRPr lang="en-US"/>
        </a:p>
      </dgm:t>
    </dgm:pt>
    <dgm:pt modelId="{9BA2B76A-8282-4290-B6AC-527C855770DA}" type="parTrans" cxnId="{DB98C7B3-4714-451A-BCFD-9F834A4BE385}">
      <dgm:prSet/>
      <dgm:spPr/>
      <dgm:t>
        <a:bodyPr/>
        <a:lstStyle/>
        <a:p>
          <a:endParaRPr lang="en-US"/>
        </a:p>
      </dgm:t>
    </dgm:pt>
    <dgm:pt modelId="{360A1BF8-0974-4BF8-803D-2E3EC53E8D09}" type="sibTrans" cxnId="{DB98C7B3-4714-451A-BCFD-9F834A4BE385}">
      <dgm:prSet/>
      <dgm:spPr/>
      <dgm:t>
        <a:bodyPr/>
        <a:lstStyle/>
        <a:p>
          <a:endParaRPr lang="en-US"/>
        </a:p>
      </dgm:t>
    </dgm:pt>
    <dgm:pt modelId="{2CF2F0B7-3F90-4441-BAE3-9657D40B953F}">
      <dgm:prSet/>
      <dgm:spPr/>
      <dgm:t>
        <a:bodyPr/>
        <a:lstStyle/>
        <a:p>
          <a:r>
            <a:rPr lang="en-US" baseline="0"/>
            <a:t>Handles scheduling tasks, I/O, and synchronization of resources</a:t>
          </a:r>
          <a:endParaRPr lang="en-US"/>
        </a:p>
      </dgm:t>
    </dgm:pt>
    <dgm:pt modelId="{13BB2AF8-B199-41DB-B38A-E8C2E343C3C7}" type="parTrans" cxnId="{4B630CA3-D950-4E90-9F8B-62C7EF37347A}">
      <dgm:prSet/>
      <dgm:spPr/>
      <dgm:t>
        <a:bodyPr/>
        <a:lstStyle/>
        <a:p>
          <a:endParaRPr lang="en-US"/>
        </a:p>
      </dgm:t>
    </dgm:pt>
    <dgm:pt modelId="{4B5AB871-6EE9-4783-859F-61C5D3055C71}" type="sibTrans" cxnId="{4B630CA3-D950-4E90-9F8B-62C7EF37347A}">
      <dgm:prSet/>
      <dgm:spPr/>
      <dgm:t>
        <a:bodyPr/>
        <a:lstStyle/>
        <a:p>
          <a:endParaRPr lang="en-US"/>
        </a:p>
      </dgm:t>
    </dgm:pt>
    <dgm:pt modelId="{20F0898A-9F21-453E-8321-FD4D24A2C7AA}">
      <dgm:prSet/>
      <dgm:spPr/>
      <dgm:t>
        <a:bodyPr/>
        <a:lstStyle/>
        <a:p>
          <a:r>
            <a:rPr lang="en-US" baseline="0"/>
            <a:t>Work requests are balanced across schedulers based on the number of active tasks</a:t>
          </a:r>
          <a:endParaRPr lang="en-US"/>
        </a:p>
      </dgm:t>
    </dgm:pt>
    <dgm:pt modelId="{A5697BB9-A9B0-4420-AD13-4522A3579464}" type="parTrans" cxnId="{9B14193D-25EA-4247-B2B9-66A74F1FFB75}">
      <dgm:prSet/>
      <dgm:spPr/>
      <dgm:t>
        <a:bodyPr/>
        <a:lstStyle/>
        <a:p>
          <a:endParaRPr lang="en-US"/>
        </a:p>
      </dgm:t>
    </dgm:pt>
    <dgm:pt modelId="{4B1864DD-E8CF-4335-B024-00B83E034A57}" type="sibTrans" cxnId="{9B14193D-25EA-4247-B2B9-66A74F1FFB75}">
      <dgm:prSet/>
      <dgm:spPr/>
      <dgm:t>
        <a:bodyPr/>
        <a:lstStyle/>
        <a:p>
          <a:endParaRPr lang="en-US"/>
        </a:p>
      </dgm:t>
    </dgm:pt>
    <dgm:pt modelId="{6B8BCF0F-8684-4066-8B0E-42FDF758E832}">
      <dgm:prSet/>
      <dgm:spPr>
        <a:solidFill>
          <a:srgbClr val="274B47"/>
        </a:solidFill>
      </dgm:spPr>
      <dgm:t>
        <a:bodyPr/>
        <a:lstStyle/>
        <a:p>
          <a:r>
            <a:rPr lang="en-US" baseline="0" dirty="0"/>
            <a:t>Monitor using </a:t>
          </a:r>
          <a:r>
            <a:rPr lang="en-US" baseline="0" dirty="0" err="1"/>
            <a:t>sys.dm_os_schedulers</a:t>
          </a:r>
          <a:endParaRPr lang="en-US" dirty="0"/>
        </a:p>
      </dgm:t>
    </dgm:pt>
    <dgm:pt modelId="{FAB89D9C-4434-4284-9A70-CBEE844FA618}" type="parTrans" cxnId="{38869960-1FAF-4306-92D8-84C2856D1651}">
      <dgm:prSet/>
      <dgm:spPr/>
      <dgm:t>
        <a:bodyPr/>
        <a:lstStyle/>
        <a:p>
          <a:endParaRPr lang="en-US"/>
        </a:p>
      </dgm:t>
    </dgm:pt>
    <dgm:pt modelId="{4BD5F852-F3F4-4F5F-86BA-3A422C0CBFE5}" type="sibTrans" cxnId="{38869960-1FAF-4306-92D8-84C2856D1651}">
      <dgm:prSet/>
      <dgm:spPr/>
      <dgm:t>
        <a:bodyPr/>
        <a:lstStyle/>
        <a:p>
          <a:endParaRPr lang="en-US"/>
        </a:p>
      </dgm:t>
    </dgm:pt>
    <dgm:pt modelId="{2DEC7192-28D4-4C3A-A9C4-9FBD8515048A}" type="pres">
      <dgm:prSet presAssocID="{DD60EFF4-D938-4C7D-8C75-4F48077ADE4B}" presName="diagram" presStyleCnt="0">
        <dgm:presLayoutVars>
          <dgm:dir/>
          <dgm:resizeHandles val="exact"/>
        </dgm:presLayoutVars>
      </dgm:prSet>
      <dgm:spPr/>
    </dgm:pt>
    <dgm:pt modelId="{F30538EA-FD32-4F11-98AF-48E41511D9CC}" type="pres">
      <dgm:prSet presAssocID="{1EF52BFB-82DC-40DB-9A2B-16EFAC64D021}" presName="node" presStyleLbl="node1" presStyleIdx="0" presStyleCnt="4">
        <dgm:presLayoutVars>
          <dgm:bulletEnabled val="1"/>
        </dgm:presLayoutVars>
      </dgm:prSet>
      <dgm:spPr/>
    </dgm:pt>
    <dgm:pt modelId="{6859C5A1-180A-4F27-87CF-DC4899C41815}" type="pres">
      <dgm:prSet presAssocID="{360A1BF8-0974-4BF8-803D-2E3EC53E8D09}" presName="sibTrans" presStyleCnt="0"/>
      <dgm:spPr/>
    </dgm:pt>
    <dgm:pt modelId="{A72C4992-5AAD-470C-B2FF-7DC5FE70ADD1}" type="pres">
      <dgm:prSet presAssocID="{2CF2F0B7-3F90-4441-BAE3-9657D40B953F}" presName="node" presStyleLbl="node1" presStyleIdx="1" presStyleCnt="4">
        <dgm:presLayoutVars>
          <dgm:bulletEnabled val="1"/>
        </dgm:presLayoutVars>
      </dgm:prSet>
      <dgm:spPr/>
    </dgm:pt>
    <dgm:pt modelId="{06CE8840-FAFC-4F70-A74B-4A717599EF3F}" type="pres">
      <dgm:prSet presAssocID="{4B5AB871-6EE9-4783-859F-61C5D3055C71}" presName="sibTrans" presStyleCnt="0"/>
      <dgm:spPr/>
    </dgm:pt>
    <dgm:pt modelId="{FB3AD4C2-E22E-4317-B905-CE6A7772C3A5}" type="pres">
      <dgm:prSet presAssocID="{20F0898A-9F21-453E-8321-FD4D24A2C7AA}" presName="node" presStyleLbl="node1" presStyleIdx="2" presStyleCnt="4">
        <dgm:presLayoutVars>
          <dgm:bulletEnabled val="1"/>
        </dgm:presLayoutVars>
      </dgm:prSet>
      <dgm:spPr/>
    </dgm:pt>
    <dgm:pt modelId="{377F348B-4945-43E2-AFDD-41D7FB8233A1}" type="pres">
      <dgm:prSet presAssocID="{4B1864DD-E8CF-4335-B024-00B83E034A57}" presName="sibTrans" presStyleCnt="0"/>
      <dgm:spPr/>
    </dgm:pt>
    <dgm:pt modelId="{B9E35828-9A64-4DC0-9438-F07756C8E595}" type="pres">
      <dgm:prSet presAssocID="{6B8BCF0F-8684-4066-8B0E-42FDF758E832}" presName="node" presStyleLbl="node1" presStyleIdx="3" presStyleCnt="4">
        <dgm:presLayoutVars>
          <dgm:bulletEnabled val="1"/>
        </dgm:presLayoutVars>
      </dgm:prSet>
      <dgm:spPr/>
    </dgm:pt>
  </dgm:ptLst>
  <dgm:cxnLst>
    <dgm:cxn modelId="{DA6BDB1C-DA75-44D9-9BCC-BE32EB940353}" type="presOf" srcId="{DD60EFF4-D938-4C7D-8C75-4F48077ADE4B}" destId="{2DEC7192-28D4-4C3A-A9C4-9FBD8515048A}" srcOrd="0" destOrd="0" presId="urn:microsoft.com/office/officeart/2005/8/layout/default"/>
    <dgm:cxn modelId="{9B14193D-25EA-4247-B2B9-66A74F1FFB75}" srcId="{DD60EFF4-D938-4C7D-8C75-4F48077ADE4B}" destId="{20F0898A-9F21-453E-8321-FD4D24A2C7AA}" srcOrd="2" destOrd="0" parTransId="{A5697BB9-A9B0-4420-AD13-4522A3579464}" sibTransId="{4B1864DD-E8CF-4335-B024-00B83E034A57}"/>
    <dgm:cxn modelId="{38869960-1FAF-4306-92D8-84C2856D1651}" srcId="{DD60EFF4-D938-4C7D-8C75-4F48077ADE4B}" destId="{6B8BCF0F-8684-4066-8B0E-42FDF758E832}" srcOrd="3" destOrd="0" parTransId="{FAB89D9C-4434-4284-9A70-CBEE844FA618}" sibTransId="{4BD5F852-F3F4-4F5F-86BA-3A422C0CBFE5}"/>
    <dgm:cxn modelId="{FB672775-0542-4FCA-BB48-C46D4B676D55}" type="presOf" srcId="{2CF2F0B7-3F90-4441-BAE3-9657D40B953F}" destId="{A72C4992-5AAD-470C-B2FF-7DC5FE70ADD1}" srcOrd="0" destOrd="0" presId="urn:microsoft.com/office/officeart/2005/8/layout/default"/>
    <dgm:cxn modelId="{4B630CA3-D950-4E90-9F8B-62C7EF37347A}" srcId="{DD60EFF4-D938-4C7D-8C75-4F48077ADE4B}" destId="{2CF2F0B7-3F90-4441-BAE3-9657D40B953F}" srcOrd="1" destOrd="0" parTransId="{13BB2AF8-B199-41DB-B38A-E8C2E343C3C7}" sibTransId="{4B5AB871-6EE9-4783-859F-61C5D3055C71}"/>
    <dgm:cxn modelId="{1A12FCA5-5934-4A3C-9DBC-6E09814BC677}" type="presOf" srcId="{6B8BCF0F-8684-4066-8B0E-42FDF758E832}" destId="{B9E35828-9A64-4DC0-9438-F07756C8E595}" srcOrd="0" destOrd="0" presId="urn:microsoft.com/office/officeart/2005/8/layout/default"/>
    <dgm:cxn modelId="{DB98C7B3-4714-451A-BCFD-9F834A4BE385}" srcId="{DD60EFF4-D938-4C7D-8C75-4F48077ADE4B}" destId="{1EF52BFB-82DC-40DB-9A2B-16EFAC64D021}" srcOrd="0" destOrd="0" parTransId="{9BA2B76A-8282-4290-B6AC-527C855770DA}" sibTransId="{360A1BF8-0974-4BF8-803D-2E3EC53E8D09}"/>
    <dgm:cxn modelId="{C780C5C1-A113-44E7-9511-32FE5A27FBC7}" type="presOf" srcId="{20F0898A-9F21-453E-8321-FD4D24A2C7AA}" destId="{FB3AD4C2-E22E-4317-B905-CE6A7772C3A5}" srcOrd="0" destOrd="0" presId="urn:microsoft.com/office/officeart/2005/8/layout/default"/>
    <dgm:cxn modelId="{3C5209E5-15A0-48D7-B924-BAD5C3A2B6BE}" type="presOf" srcId="{1EF52BFB-82DC-40DB-9A2B-16EFAC64D021}" destId="{F30538EA-FD32-4F11-98AF-48E41511D9CC}" srcOrd="0" destOrd="0" presId="urn:microsoft.com/office/officeart/2005/8/layout/default"/>
    <dgm:cxn modelId="{32BF3609-5729-4535-8BE5-5108D1F7AFDF}" type="presParOf" srcId="{2DEC7192-28D4-4C3A-A9C4-9FBD8515048A}" destId="{F30538EA-FD32-4F11-98AF-48E41511D9CC}" srcOrd="0" destOrd="0" presId="urn:microsoft.com/office/officeart/2005/8/layout/default"/>
    <dgm:cxn modelId="{33C340CA-B07F-4091-9BA8-E6E2602E7F84}" type="presParOf" srcId="{2DEC7192-28D4-4C3A-A9C4-9FBD8515048A}" destId="{6859C5A1-180A-4F27-87CF-DC4899C41815}" srcOrd="1" destOrd="0" presId="urn:microsoft.com/office/officeart/2005/8/layout/default"/>
    <dgm:cxn modelId="{A896DB75-497E-48E3-8DF8-5F4368607A38}" type="presParOf" srcId="{2DEC7192-28D4-4C3A-A9C4-9FBD8515048A}" destId="{A72C4992-5AAD-470C-B2FF-7DC5FE70ADD1}" srcOrd="2" destOrd="0" presId="urn:microsoft.com/office/officeart/2005/8/layout/default"/>
    <dgm:cxn modelId="{EC62C9BE-8B7E-4BA0-8BFE-9C3ED11CE953}" type="presParOf" srcId="{2DEC7192-28D4-4C3A-A9C4-9FBD8515048A}" destId="{06CE8840-FAFC-4F70-A74B-4A717599EF3F}" srcOrd="3" destOrd="0" presId="urn:microsoft.com/office/officeart/2005/8/layout/default"/>
    <dgm:cxn modelId="{A8F5A1E9-D631-4C73-AFBD-760D64540CAE}" type="presParOf" srcId="{2DEC7192-28D4-4C3A-A9C4-9FBD8515048A}" destId="{FB3AD4C2-E22E-4317-B905-CE6A7772C3A5}" srcOrd="4" destOrd="0" presId="urn:microsoft.com/office/officeart/2005/8/layout/default"/>
    <dgm:cxn modelId="{EE1FD721-AC40-4C37-8848-EF2FEAF6DC21}" type="presParOf" srcId="{2DEC7192-28D4-4C3A-A9C4-9FBD8515048A}" destId="{377F348B-4945-43E2-AFDD-41D7FB8233A1}" srcOrd="5" destOrd="0" presId="urn:microsoft.com/office/officeart/2005/8/layout/default"/>
    <dgm:cxn modelId="{FDDB564C-D1DF-4248-8D75-672390E705B1}" type="presParOf" srcId="{2DEC7192-28D4-4C3A-A9C4-9FBD8515048A}" destId="{B9E35828-9A64-4DC0-9438-F07756C8E595}"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E132100-0470-40B7-A8E6-6DBEEC8F85EA}" type="doc">
      <dgm:prSet loTypeId="urn:microsoft.com/office/officeart/2008/layout/VerticalCurvedList" loCatId="list" qsTypeId="urn:microsoft.com/office/officeart/2005/8/quickstyle/simple1" qsCatId="simple" csTypeId="urn:microsoft.com/office/officeart/2005/8/colors/accent1_2" csCatId="accent1"/>
      <dgm:spPr/>
      <dgm:t>
        <a:bodyPr/>
        <a:lstStyle/>
        <a:p>
          <a:endParaRPr lang="en-US"/>
        </a:p>
      </dgm:t>
    </dgm:pt>
    <dgm:pt modelId="{072FA309-782A-431D-B584-C1A7FC258A00}">
      <dgm:prSet/>
      <dgm:spPr/>
      <dgm:t>
        <a:bodyPr/>
        <a:lstStyle/>
        <a:p>
          <a:r>
            <a:rPr lang="en-US" baseline="0" dirty="0"/>
            <a:t>Troubleshooting methodology to identify resource bottlenecks.</a:t>
          </a:r>
          <a:endParaRPr lang="en-US" dirty="0"/>
        </a:p>
      </dgm:t>
    </dgm:pt>
    <dgm:pt modelId="{3C887387-232D-4391-B697-DAB6359FA216}" type="parTrans" cxnId="{B91AE603-7DE6-41C5-9DD1-C2E7B0EBDC85}">
      <dgm:prSet/>
      <dgm:spPr/>
      <dgm:t>
        <a:bodyPr/>
        <a:lstStyle/>
        <a:p>
          <a:endParaRPr lang="en-US"/>
        </a:p>
      </dgm:t>
    </dgm:pt>
    <dgm:pt modelId="{1D8D9085-C444-48F7-9E0F-C5B0BB20C2BA}" type="sibTrans" cxnId="{B91AE603-7DE6-41C5-9DD1-C2E7B0EBDC85}">
      <dgm:prSet/>
      <dgm:spPr/>
      <dgm:t>
        <a:bodyPr/>
        <a:lstStyle/>
        <a:p>
          <a:endParaRPr lang="en-US"/>
        </a:p>
      </dgm:t>
    </dgm:pt>
    <dgm:pt modelId="{364C0827-5695-468E-8402-4ED887680B9C}">
      <dgm:prSet/>
      <dgm:spPr/>
      <dgm:t>
        <a:bodyPr/>
        <a:lstStyle/>
        <a:p>
          <a:r>
            <a:rPr lang="en-US" baseline="0" dirty="0"/>
            <a:t>SQL Server maintains the state in which workers wait.</a:t>
          </a:r>
          <a:endParaRPr lang="en-US" dirty="0"/>
        </a:p>
      </dgm:t>
    </dgm:pt>
    <dgm:pt modelId="{9A9CB8CE-6365-4133-8E86-C95D04A56BFE}" type="parTrans" cxnId="{E29FFE80-DC9B-439F-BA87-2D463D57EFCE}">
      <dgm:prSet/>
      <dgm:spPr/>
      <dgm:t>
        <a:bodyPr/>
        <a:lstStyle/>
        <a:p>
          <a:endParaRPr lang="en-US"/>
        </a:p>
      </dgm:t>
    </dgm:pt>
    <dgm:pt modelId="{EBFDE015-84A0-49C4-BA7F-EF29B960D49C}" type="sibTrans" cxnId="{E29FFE80-DC9B-439F-BA87-2D463D57EFCE}">
      <dgm:prSet/>
      <dgm:spPr/>
      <dgm:t>
        <a:bodyPr/>
        <a:lstStyle/>
        <a:p>
          <a:endParaRPr lang="en-US"/>
        </a:p>
      </dgm:t>
    </dgm:pt>
    <dgm:pt modelId="{59298F07-C3D9-4A4C-8BC4-52661060F832}">
      <dgm:prSet/>
      <dgm:spPr/>
      <dgm:t>
        <a:bodyPr/>
        <a:lstStyle/>
        <a:p>
          <a:r>
            <a:rPr lang="en-US" baseline="0"/>
            <a:t>Waits are represented by the SQL Server wait statistics; tracking waits over time.</a:t>
          </a:r>
          <a:endParaRPr lang="en-US"/>
        </a:p>
      </dgm:t>
    </dgm:pt>
    <dgm:pt modelId="{278BE5D5-901D-4C4D-A2FF-0957294DCAA8}" type="parTrans" cxnId="{D1E72586-FF46-4CC8-AD87-D1E8C0FEA219}">
      <dgm:prSet/>
      <dgm:spPr/>
      <dgm:t>
        <a:bodyPr/>
        <a:lstStyle/>
        <a:p>
          <a:endParaRPr lang="en-US"/>
        </a:p>
      </dgm:t>
    </dgm:pt>
    <dgm:pt modelId="{349014B1-DE49-47BC-BDB1-8C7B536B6FD7}" type="sibTrans" cxnId="{D1E72586-FF46-4CC8-AD87-D1E8C0FEA219}">
      <dgm:prSet/>
      <dgm:spPr/>
      <dgm:t>
        <a:bodyPr/>
        <a:lstStyle/>
        <a:p>
          <a:endParaRPr lang="en-US"/>
        </a:p>
      </dgm:t>
    </dgm:pt>
    <dgm:pt modelId="{12A03ED1-F2F5-48DB-9FCD-9D938B3BBC30}">
      <dgm:prSet/>
      <dgm:spPr/>
      <dgm:t>
        <a:bodyPr/>
        <a:lstStyle/>
        <a:p>
          <a:r>
            <a:rPr lang="en-US" baseline="0"/>
            <a:t>Queues are represented by performance objects and counters.</a:t>
          </a:r>
          <a:endParaRPr lang="en-US"/>
        </a:p>
      </dgm:t>
    </dgm:pt>
    <dgm:pt modelId="{D029FF07-E014-4917-9DBB-2B8073791D43}" type="parTrans" cxnId="{723416D3-7476-4A7D-8326-61E7C31768D0}">
      <dgm:prSet/>
      <dgm:spPr/>
      <dgm:t>
        <a:bodyPr/>
        <a:lstStyle/>
        <a:p>
          <a:endParaRPr lang="en-US"/>
        </a:p>
      </dgm:t>
    </dgm:pt>
    <dgm:pt modelId="{30202A8B-2383-4B28-B958-5E2A9C8EEEA3}" type="sibTrans" cxnId="{723416D3-7476-4A7D-8326-61E7C31768D0}">
      <dgm:prSet/>
      <dgm:spPr/>
      <dgm:t>
        <a:bodyPr/>
        <a:lstStyle/>
        <a:p>
          <a:endParaRPr lang="en-US"/>
        </a:p>
      </dgm:t>
    </dgm:pt>
    <dgm:pt modelId="{EEF1417D-6A01-47C9-A06B-CCDEE894CF73}" type="pres">
      <dgm:prSet presAssocID="{9E132100-0470-40B7-A8E6-6DBEEC8F85EA}" presName="Name0" presStyleCnt="0">
        <dgm:presLayoutVars>
          <dgm:chMax val="7"/>
          <dgm:chPref val="7"/>
          <dgm:dir/>
        </dgm:presLayoutVars>
      </dgm:prSet>
      <dgm:spPr/>
    </dgm:pt>
    <dgm:pt modelId="{0CFBCEC6-913B-4BAE-B9E3-2601B55F785B}" type="pres">
      <dgm:prSet presAssocID="{9E132100-0470-40B7-A8E6-6DBEEC8F85EA}" presName="Name1" presStyleCnt="0"/>
      <dgm:spPr/>
    </dgm:pt>
    <dgm:pt modelId="{7D7D3BA5-3227-41DB-B5CE-929D0B4BCF57}" type="pres">
      <dgm:prSet presAssocID="{9E132100-0470-40B7-A8E6-6DBEEC8F85EA}" presName="cycle" presStyleCnt="0"/>
      <dgm:spPr/>
    </dgm:pt>
    <dgm:pt modelId="{593D78D2-9DF9-4235-9E13-1D5F2B7D9BD0}" type="pres">
      <dgm:prSet presAssocID="{9E132100-0470-40B7-A8E6-6DBEEC8F85EA}" presName="srcNode" presStyleLbl="node1" presStyleIdx="0" presStyleCnt="4"/>
      <dgm:spPr/>
    </dgm:pt>
    <dgm:pt modelId="{A05B37A8-CE14-4E1B-940F-3DD88250DA1A}" type="pres">
      <dgm:prSet presAssocID="{9E132100-0470-40B7-A8E6-6DBEEC8F85EA}" presName="conn" presStyleLbl="parChTrans1D2" presStyleIdx="0" presStyleCnt="1"/>
      <dgm:spPr/>
    </dgm:pt>
    <dgm:pt modelId="{52E73943-54AE-49A9-AE8B-2B196EFB4586}" type="pres">
      <dgm:prSet presAssocID="{9E132100-0470-40B7-A8E6-6DBEEC8F85EA}" presName="extraNode" presStyleLbl="node1" presStyleIdx="0" presStyleCnt="4"/>
      <dgm:spPr/>
    </dgm:pt>
    <dgm:pt modelId="{04F88E18-0155-4371-9B32-CC269A0C303C}" type="pres">
      <dgm:prSet presAssocID="{9E132100-0470-40B7-A8E6-6DBEEC8F85EA}" presName="dstNode" presStyleLbl="node1" presStyleIdx="0" presStyleCnt="4"/>
      <dgm:spPr/>
    </dgm:pt>
    <dgm:pt modelId="{F67B6145-3C04-468A-A4C1-F34B906D01D1}" type="pres">
      <dgm:prSet presAssocID="{072FA309-782A-431D-B584-C1A7FC258A00}" presName="text_1" presStyleLbl="node1" presStyleIdx="0" presStyleCnt="4">
        <dgm:presLayoutVars>
          <dgm:bulletEnabled val="1"/>
        </dgm:presLayoutVars>
      </dgm:prSet>
      <dgm:spPr/>
    </dgm:pt>
    <dgm:pt modelId="{C29DFE64-EBCC-4934-8C99-55374BF6A692}" type="pres">
      <dgm:prSet presAssocID="{072FA309-782A-431D-B584-C1A7FC258A00}" presName="accent_1" presStyleCnt="0"/>
      <dgm:spPr/>
    </dgm:pt>
    <dgm:pt modelId="{EA789D9B-79AF-40A6-8354-6E0DB3438074}" type="pres">
      <dgm:prSet presAssocID="{072FA309-782A-431D-B584-C1A7FC258A00}" presName="accentRepeatNode" presStyleLbl="solidFgAcc1" presStyleIdx="0" presStyleCnt="4"/>
      <dgm:spPr/>
    </dgm:pt>
    <dgm:pt modelId="{B609AC65-467E-497D-BF7A-4AECAB2052C7}" type="pres">
      <dgm:prSet presAssocID="{364C0827-5695-468E-8402-4ED887680B9C}" presName="text_2" presStyleLbl="node1" presStyleIdx="1" presStyleCnt="4">
        <dgm:presLayoutVars>
          <dgm:bulletEnabled val="1"/>
        </dgm:presLayoutVars>
      </dgm:prSet>
      <dgm:spPr/>
    </dgm:pt>
    <dgm:pt modelId="{6A671C03-C2B8-47D4-925A-F11C2B0272BC}" type="pres">
      <dgm:prSet presAssocID="{364C0827-5695-468E-8402-4ED887680B9C}" presName="accent_2" presStyleCnt="0"/>
      <dgm:spPr/>
    </dgm:pt>
    <dgm:pt modelId="{D332BF79-271C-4DCB-A41E-A2BF0171722F}" type="pres">
      <dgm:prSet presAssocID="{364C0827-5695-468E-8402-4ED887680B9C}" presName="accentRepeatNode" presStyleLbl="solidFgAcc1" presStyleIdx="1" presStyleCnt="4"/>
      <dgm:spPr/>
    </dgm:pt>
    <dgm:pt modelId="{304BBB36-A537-46B1-B432-E7720752E8BD}" type="pres">
      <dgm:prSet presAssocID="{59298F07-C3D9-4A4C-8BC4-52661060F832}" presName="text_3" presStyleLbl="node1" presStyleIdx="2" presStyleCnt="4">
        <dgm:presLayoutVars>
          <dgm:bulletEnabled val="1"/>
        </dgm:presLayoutVars>
      </dgm:prSet>
      <dgm:spPr/>
    </dgm:pt>
    <dgm:pt modelId="{B689474D-0C2F-4FD9-B43B-33ABC4FD556C}" type="pres">
      <dgm:prSet presAssocID="{59298F07-C3D9-4A4C-8BC4-52661060F832}" presName="accent_3" presStyleCnt="0"/>
      <dgm:spPr/>
    </dgm:pt>
    <dgm:pt modelId="{9943A29A-0ADA-4AD0-BE2D-3C48E671F264}" type="pres">
      <dgm:prSet presAssocID="{59298F07-C3D9-4A4C-8BC4-52661060F832}" presName="accentRepeatNode" presStyleLbl="solidFgAcc1" presStyleIdx="2" presStyleCnt="4"/>
      <dgm:spPr/>
    </dgm:pt>
    <dgm:pt modelId="{CFA9F5AB-C6F5-4790-96FE-D7058348E63C}" type="pres">
      <dgm:prSet presAssocID="{12A03ED1-F2F5-48DB-9FCD-9D938B3BBC30}" presName="text_4" presStyleLbl="node1" presStyleIdx="3" presStyleCnt="4">
        <dgm:presLayoutVars>
          <dgm:bulletEnabled val="1"/>
        </dgm:presLayoutVars>
      </dgm:prSet>
      <dgm:spPr/>
    </dgm:pt>
    <dgm:pt modelId="{60F227EB-9B22-45E8-9ED9-C5E9024301B4}" type="pres">
      <dgm:prSet presAssocID="{12A03ED1-F2F5-48DB-9FCD-9D938B3BBC30}" presName="accent_4" presStyleCnt="0"/>
      <dgm:spPr/>
    </dgm:pt>
    <dgm:pt modelId="{B5724A4D-6C20-451A-A3A1-6E065DD4A618}" type="pres">
      <dgm:prSet presAssocID="{12A03ED1-F2F5-48DB-9FCD-9D938B3BBC30}" presName="accentRepeatNode" presStyleLbl="solidFgAcc1" presStyleIdx="3" presStyleCnt="4"/>
      <dgm:spPr/>
    </dgm:pt>
  </dgm:ptLst>
  <dgm:cxnLst>
    <dgm:cxn modelId="{B91AE603-7DE6-41C5-9DD1-C2E7B0EBDC85}" srcId="{9E132100-0470-40B7-A8E6-6DBEEC8F85EA}" destId="{072FA309-782A-431D-B584-C1A7FC258A00}" srcOrd="0" destOrd="0" parTransId="{3C887387-232D-4391-B697-DAB6359FA216}" sibTransId="{1D8D9085-C444-48F7-9E0F-C5B0BB20C2BA}"/>
    <dgm:cxn modelId="{0E2B450F-EB8B-49CD-96E7-1575647685CE}" type="presOf" srcId="{364C0827-5695-468E-8402-4ED887680B9C}" destId="{B609AC65-467E-497D-BF7A-4AECAB2052C7}" srcOrd="0" destOrd="0" presId="urn:microsoft.com/office/officeart/2008/layout/VerticalCurvedList"/>
    <dgm:cxn modelId="{E29FFE80-DC9B-439F-BA87-2D463D57EFCE}" srcId="{9E132100-0470-40B7-A8E6-6DBEEC8F85EA}" destId="{364C0827-5695-468E-8402-4ED887680B9C}" srcOrd="1" destOrd="0" parTransId="{9A9CB8CE-6365-4133-8E86-C95D04A56BFE}" sibTransId="{EBFDE015-84A0-49C4-BA7F-EF29B960D49C}"/>
    <dgm:cxn modelId="{B42FA685-7800-488B-85B1-CCA0AE3EA5CB}" type="presOf" srcId="{072FA309-782A-431D-B584-C1A7FC258A00}" destId="{F67B6145-3C04-468A-A4C1-F34B906D01D1}" srcOrd="0" destOrd="0" presId="urn:microsoft.com/office/officeart/2008/layout/VerticalCurvedList"/>
    <dgm:cxn modelId="{D1E72586-FF46-4CC8-AD87-D1E8C0FEA219}" srcId="{9E132100-0470-40B7-A8E6-6DBEEC8F85EA}" destId="{59298F07-C3D9-4A4C-8BC4-52661060F832}" srcOrd="2" destOrd="0" parTransId="{278BE5D5-901D-4C4D-A2FF-0957294DCAA8}" sibTransId="{349014B1-DE49-47BC-BDB1-8C7B536B6FD7}"/>
    <dgm:cxn modelId="{90E036A1-253F-4B83-A062-3E315B185EAF}" type="presOf" srcId="{59298F07-C3D9-4A4C-8BC4-52661060F832}" destId="{304BBB36-A537-46B1-B432-E7720752E8BD}" srcOrd="0" destOrd="0" presId="urn:microsoft.com/office/officeart/2008/layout/VerticalCurvedList"/>
    <dgm:cxn modelId="{D66EB1AC-4162-451D-ACCD-E090FFE140BB}" type="presOf" srcId="{9E132100-0470-40B7-A8E6-6DBEEC8F85EA}" destId="{EEF1417D-6A01-47C9-A06B-CCDEE894CF73}" srcOrd="0" destOrd="0" presId="urn:microsoft.com/office/officeart/2008/layout/VerticalCurvedList"/>
    <dgm:cxn modelId="{723416D3-7476-4A7D-8326-61E7C31768D0}" srcId="{9E132100-0470-40B7-A8E6-6DBEEC8F85EA}" destId="{12A03ED1-F2F5-48DB-9FCD-9D938B3BBC30}" srcOrd="3" destOrd="0" parTransId="{D029FF07-E014-4917-9DBB-2B8073791D43}" sibTransId="{30202A8B-2383-4B28-B958-5E2A9C8EEEA3}"/>
    <dgm:cxn modelId="{A00B90E1-4B5B-4DB9-8DB1-D2FFFE3DE8F2}" type="presOf" srcId="{12A03ED1-F2F5-48DB-9FCD-9D938B3BBC30}" destId="{CFA9F5AB-C6F5-4790-96FE-D7058348E63C}" srcOrd="0" destOrd="0" presId="urn:microsoft.com/office/officeart/2008/layout/VerticalCurvedList"/>
    <dgm:cxn modelId="{72705DFC-6F1F-4550-9576-455FDCF6ACAD}" type="presOf" srcId="{1D8D9085-C444-48F7-9E0F-C5B0BB20C2BA}" destId="{A05B37A8-CE14-4E1B-940F-3DD88250DA1A}" srcOrd="0" destOrd="0" presId="urn:microsoft.com/office/officeart/2008/layout/VerticalCurvedList"/>
    <dgm:cxn modelId="{3303A81C-72CA-47C9-8630-04984771A8B4}" type="presParOf" srcId="{EEF1417D-6A01-47C9-A06B-CCDEE894CF73}" destId="{0CFBCEC6-913B-4BAE-B9E3-2601B55F785B}" srcOrd="0" destOrd="0" presId="urn:microsoft.com/office/officeart/2008/layout/VerticalCurvedList"/>
    <dgm:cxn modelId="{98AB82E2-842B-44AD-BD22-F537D3167CEB}" type="presParOf" srcId="{0CFBCEC6-913B-4BAE-B9E3-2601B55F785B}" destId="{7D7D3BA5-3227-41DB-B5CE-929D0B4BCF57}" srcOrd="0" destOrd="0" presId="urn:microsoft.com/office/officeart/2008/layout/VerticalCurvedList"/>
    <dgm:cxn modelId="{E6E0044E-2661-4899-9812-BA422D7AD42A}" type="presParOf" srcId="{7D7D3BA5-3227-41DB-B5CE-929D0B4BCF57}" destId="{593D78D2-9DF9-4235-9E13-1D5F2B7D9BD0}" srcOrd="0" destOrd="0" presId="urn:microsoft.com/office/officeart/2008/layout/VerticalCurvedList"/>
    <dgm:cxn modelId="{3A28D97A-8C5E-4F4A-B8FF-CE3728EEAC59}" type="presParOf" srcId="{7D7D3BA5-3227-41DB-B5CE-929D0B4BCF57}" destId="{A05B37A8-CE14-4E1B-940F-3DD88250DA1A}" srcOrd="1" destOrd="0" presId="urn:microsoft.com/office/officeart/2008/layout/VerticalCurvedList"/>
    <dgm:cxn modelId="{D378BA32-BD64-4D57-A875-678EEAD9DF32}" type="presParOf" srcId="{7D7D3BA5-3227-41DB-B5CE-929D0B4BCF57}" destId="{52E73943-54AE-49A9-AE8B-2B196EFB4586}" srcOrd="2" destOrd="0" presId="urn:microsoft.com/office/officeart/2008/layout/VerticalCurvedList"/>
    <dgm:cxn modelId="{B166CEF3-1061-4B1D-A5AD-BEAE38211C21}" type="presParOf" srcId="{7D7D3BA5-3227-41DB-B5CE-929D0B4BCF57}" destId="{04F88E18-0155-4371-9B32-CC269A0C303C}" srcOrd="3" destOrd="0" presId="urn:microsoft.com/office/officeart/2008/layout/VerticalCurvedList"/>
    <dgm:cxn modelId="{517DE390-4833-4759-A35F-03F3E01CA7D1}" type="presParOf" srcId="{0CFBCEC6-913B-4BAE-B9E3-2601B55F785B}" destId="{F67B6145-3C04-468A-A4C1-F34B906D01D1}" srcOrd="1" destOrd="0" presId="urn:microsoft.com/office/officeart/2008/layout/VerticalCurvedList"/>
    <dgm:cxn modelId="{6C34DCD2-371F-4D72-972B-1843C06E6897}" type="presParOf" srcId="{0CFBCEC6-913B-4BAE-B9E3-2601B55F785B}" destId="{C29DFE64-EBCC-4934-8C99-55374BF6A692}" srcOrd="2" destOrd="0" presId="urn:microsoft.com/office/officeart/2008/layout/VerticalCurvedList"/>
    <dgm:cxn modelId="{E7F31C73-7CC9-44D3-BDB3-1000A06C4282}" type="presParOf" srcId="{C29DFE64-EBCC-4934-8C99-55374BF6A692}" destId="{EA789D9B-79AF-40A6-8354-6E0DB3438074}" srcOrd="0" destOrd="0" presId="urn:microsoft.com/office/officeart/2008/layout/VerticalCurvedList"/>
    <dgm:cxn modelId="{C5C2B258-4B1C-4A8C-8DD4-3AC52DF165C7}" type="presParOf" srcId="{0CFBCEC6-913B-4BAE-B9E3-2601B55F785B}" destId="{B609AC65-467E-497D-BF7A-4AECAB2052C7}" srcOrd="3" destOrd="0" presId="urn:microsoft.com/office/officeart/2008/layout/VerticalCurvedList"/>
    <dgm:cxn modelId="{B306CC46-01EA-49D8-950F-E24A260A5BC3}" type="presParOf" srcId="{0CFBCEC6-913B-4BAE-B9E3-2601B55F785B}" destId="{6A671C03-C2B8-47D4-925A-F11C2B0272BC}" srcOrd="4" destOrd="0" presId="urn:microsoft.com/office/officeart/2008/layout/VerticalCurvedList"/>
    <dgm:cxn modelId="{B457AB87-78B6-4406-8485-17D471AF2801}" type="presParOf" srcId="{6A671C03-C2B8-47D4-925A-F11C2B0272BC}" destId="{D332BF79-271C-4DCB-A41E-A2BF0171722F}" srcOrd="0" destOrd="0" presId="urn:microsoft.com/office/officeart/2008/layout/VerticalCurvedList"/>
    <dgm:cxn modelId="{E7D014C0-99F9-42B7-AC08-44C749CE6B5C}" type="presParOf" srcId="{0CFBCEC6-913B-4BAE-B9E3-2601B55F785B}" destId="{304BBB36-A537-46B1-B432-E7720752E8BD}" srcOrd="5" destOrd="0" presId="urn:microsoft.com/office/officeart/2008/layout/VerticalCurvedList"/>
    <dgm:cxn modelId="{9396CC01-CC20-4214-84D7-902AA638C9D1}" type="presParOf" srcId="{0CFBCEC6-913B-4BAE-B9E3-2601B55F785B}" destId="{B689474D-0C2F-4FD9-B43B-33ABC4FD556C}" srcOrd="6" destOrd="0" presId="urn:microsoft.com/office/officeart/2008/layout/VerticalCurvedList"/>
    <dgm:cxn modelId="{AAFB8A23-D393-455A-BCAC-339A9290033A}" type="presParOf" srcId="{B689474D-0C2F-4FD9-B43B-33ABC4FD556C}" destId="{9943A29A-0ADA-4AD0-BE2D-3C48E671F264}" srcOrd="0" destOrd="0" presId="urn:microsoft.com/office/officeart/2008/layout/VerticalCurvedList"/>
    <dgm:cxn modelId="{5733F610-5403-42CB-8E83-30AA8ED111F5}" type="presParOf" srcId="{0CFBCEC6-913B-4BAE-B9E3-2601B55F785B}" destId="{CFA9F5AB-C6F5-4790-96FE-D7058348E63C}" srcOrd="7" destOrd="0" presId="urn:microsoft.com/office/officeart/2008/layout/VerticalCurvedList"/>
    <dgm:cxn modelId="{C0C177FB-E2D3-4F01-9107-ED45C13A9B72}" type="presParOf" srcId="{0CFBCEC6-913B-4BAE-B9E3-2601B55F785B}" destId="{60F227EB-9B22-45E8-9ED9-C5E9024301B4}" srcOrd="8" destOrd="0" presId="urn:microsoft.com/office/officeart/2008/layout/VerticalCurvedList"/>
    <dgm:cxn modelId="{F349C251-7784-4F8E-9AFD-03B48C0084BD}" type="presParOf" srcId="{60F227EB-9B22-45E8-9ED9-C5E9024301B4}" destId="{B5724A4D-6C20-451A-A3A1-6E065DD4A618}"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1DCBEA9-87D6-493A-9CF2-E87BDBDE8E22}" type="doc">
      <dgm:prSet loTypeId="urn:microsoft.com/office/officeart/2005/8/layout/vList2" loCatId="list" qsTypeId="urn:microsoft.com/office/officeart/2005/8/quickstyle/simple2" qsCatId="simple" csTypeId="urn:microsoft.com/office/officeart/2005/8/colors/accent0_3" csCatId="mainScheme" phldr="1"/>
      <dgm:spPr/>
      <dgm:t>
        <a:bodyPr/>
        <a:lstStyle/>
        <a:p>
          <a:endParaRPr lang="en-US"/>
        </a:p>
      </dgm:t>
    </dgm:pt>
    <dgm:pt modelId="{01021F09-2D1F-4D03-B46D-943823055552}">
      <dgm:prSet custT="1"/>
      <dgm:spPr/>
      <dgm:t>
        <a:bodyPr/>
        <a:lstStyle/>
        <a:p>
          <a:r>
            <a:rPr lang="en-GB" sz="3600" b="1" dirty="0"/>
            <a:t>Runnable: </a:t>
          </a:r>
          <a:r>
            <a:rPr lang="en-GB" sz="3600" b="0" dirty="0"/>
            <a:t>The thread is currently in the Runnable Queue waiting to execute. (First In, First Out). </a:t>
          </a:r>
          <a:endParaRPr lang="en-US" sz="3600" dirty="0"/>
        </a:p>
      </dgm:t>
    </dgm:pt>
    <dgm:pt modelId="{B6EE58E1-780D-4FFB-8080-2277ED422268}" type="sibTrans" cxnId="{DC458517-008E-491D-9CC1-EC898C7BE308}">
      <dgm:prSet/>
      <dgm:spPr/>
      <dgm:t>
        <a:bodyPr/>
        <a:lstStyle/>
        <a:p>
          <a:endParaRPr lang="en-US"/>
        </a:p>
      </dgm:t>
    </dgm:pt>
    <dgm:pt modelId="{BD316740-22E8-4D35-BB2E-B151094E3349}" type="parTrans" cxnId="{DC458517-008E-491D-9CC1-EC898C7BE308}">
      <dgm:prSet/>
      <dgm:spPr/>
      <dgm:t>
        <a:bodyPr/>
        <a:lstStyle/>
        <a:p>
          <a:endParaRPr lang="en-US"/>
        </a:p>
      </dgm:t>
    </dgm:pt>
    <dgm:pt modelId="{AA931836-67EC-4C25-BD7C-03AE368C6DE3}">
      <dgm:prSet custT="1"/>
      <dgm:spPr/>
      <dgm:t>
        <a:bodyPr/>
        <a:lstStyle/>
        <a:p>
          <a:r>
            <a:rPr lang="en-GB" sz="3600" b="1" dirty="0"/>
            <a:t>Running: </a:t>
          </a:r>
          <a:r>
            <a:rPr lang="en-GB" sz="3600" dirty="0"/>
            <a:t>One active thread executing on a processor. </a:t>
          </a:r>
          <a:endParaRPr lang="en-US" sz="3600" dirty="0"/>
        </a:p>
      </dgm:t>
    </dgm:pt>
    <dgm:pt modelId="{B2538DD4-1D4E-4674-A610-22F8C381980D}" type="parTrans" cxnId="{9767E367-7897-46A7-B23F-0DCCF99666B5}">
      <dgm:prSet/>
      <dgm:spPr/>
      <dgm:t>
        <a:bodyPr/>
        <a:lstStyle/>
        <a:p>
          <a:endParaRPr lang="en-US"/>
        </a:p>
      </dgm:t>
    </dgm:pt>
    <dgm:pt modelId="{297D9F4C-0808-42EA-84BB-272EC62A69E6}" type="sibTrans" cxnId="{9767E367-7897-46A7-B23F-0DCCF99666B5}">
      <dgm:prSet/>
      <dgm:spPr/>
      <dgm:t>
        <a:bodyPr/>
        <a:lstStyle/>
        <a:p>
          <a:endParaRPr lang="en-US"/>
        </a:p>
      </dgm:t>
    </dgm:pt>
    <dgm:pt modelId="{6257F6B1-71E7-400C-AAE9-B78DAF42AAA9}">
      <dgm:prSet custT="1"/>
      <dgm:spPr/>
      <dgm:t>
        <a:bodyPr/>
        <a:lstStyle/>
        <a:p>
          <a:r>
            <a:rPr lang="en-GB" sz="3600" b="1"/>
            <a:t>Suspended: </a:t>
          </a:r>
          <a:r>
            <a:rPr lang="en-GB" sz="3600" b="0"/>
            <a:t>Placed on a Waiter List waiting for a resource other than a processor. (No specific order).</a:t>
          </a:r>
          <a:endParaRPr lang="en-US" sz="3600" dirty="0"/>
        </a:p>
      </dgm:t>
    </dgm:pt>
    <dgm:pt modelId="{13AC8EEF-F1E3-4F2C-B36B-555CD2A070A0}" type="parTrans" cxnId="{4EE89B7C-D610-404B-81EA-CB1052AF7EF7}">
      <dgm:prSet/>
      <dgm:spPr/>
      <dgm:t>
        <a:bodyPr/>
        <a:lstStyle/>
        <a:p>
          <a:endParaRPr lang="en-US"/>
        </a:p>
      </dgm:t>
    </dgm:pt>
    <dgm:pt modelId="{C981F7D8-194D-4534-BC92-07C9F82551F8}" type="sibTrans" cxnId="{4EE89B7C-D610-404B-81EA-CB1052AF7EF7}">
      <dgm:prSet/>
      <dgm:spPr/>
      <dgm:t>
        <a:bodyPr/>
        <a:lstStyle/>
        <a:p>
          <a:endParaRPr lang="en-US"/>
        </a:p>
      </dgm:t>
    </dgm:pt>
    <dgm:pt modelId="{99BFF411-CC4F-4F26-9A66-F5F2C462B78B}" type="pres">
      <dgm:prSet presAssocID="{C1DCBEA9-87D6-493A-9CF2-E87BDBDE8E22}" presName="linear" presStyleCnt="0">
        <dgm:presLayoutVars>
          <dgm:animLvl val="lvl"/>
          <dgm:resizeHandles val="exact"/>
        </dgm:presLayoutVars>
      </dgm:prSet>
      <dgm:spPr/>
    </dgm:pt>
    <dgm:pt modelId="{15CD9A8C-3E0A-4D13-A7FE-D583CD7C92AF}" type="pres">
      <dgm:prSet presAssocID="{01021F09-2D1F-4D03-B46D-943823055552}" presName="parentText" presStyleLbl="node1" presStyleIdx="0" presStyleCnt="3">
        <dgm:presLayoutVars>
          <dgm:chMax val="0"/>
          <dgm:bulletEnabled val="1"/>
        </dgm:presLayoutVars>
      </dgm:prSet>
      <dgm:spPr/>
    </dgm:pt>
    <dgm:pt modelId="{FCBEA8A0-9BF0-4EEA-8677-AEB54DE00D0C}" type="pres">
      <dgm:prSet presAssocID="{B6EE58E1-780D-4FFB-8080-2277ED422268}" presName="spacer" presStyleCnt="0"/>
      <dgm:spPr/>
    </dgm:pt>
    <dgm:pt modelId="{6B847B8C-D7F0-4974-8DFF-2B5BA70AB85F}" type="pres">
      <dgm:prSet presAssocID="{AA931836-67EC-4C25-BD7C-03AE368C6DE3}" presName="parentText" presStyleLbl="node1" presStyleIdx="1" presStyleCnt="3">
        <dgm:presLayoutVars>
          <dgm:chMax val="0"/>
          <dgm:bulletEnabled val="1"/>
        </dgm:presLayoutVars>
      </dgm:prSet>
      <dgm:spPr/>
    </dgm:pt>
    <dgm:pt modelId="{8A8EA9BB-1594-4664-BE33-E2CAD20E9CB3}" type="pres">
      <dgm:prSet presAssocID="{297D9F4C-0808-42EA-84BB-272EC62A69E6}" presName="spacer" presStyleCnt="0"/>
      <dgm:spPr/>
    </dgm:pt>
    <dgm:pt modelId="{C33A9ECD-F177-41F7-B563-4EDE05550E66}" type="pres">
      <dgm:prSet presAssocID="{6257F6B1-71E7-400C-AAE9-B78DAF42AAA9}" presName="parentText" presStyleLbl="node1" presStyleIdx="2" presStyleCnt="3" custLinFactNeighborY="0">
        <dgm:presLayoutVars>
          <dgm:chMax val="0"/>
          <dgm:bulletEnabled val="1"/>
        </dgm:presLayoutVars>
      </dgm:prSet>
      <dgm:spPr/>
    </dgm:pt>
  </dgm:ptLst>
  <dgm:cxnLst>
    <dgm:cxn modelId="{DC458517-008E-491D-9CC1-EC898C7BE308}" srcId="{C1DCBEA9-87D6-493A-9CF2-E87BDBDE8E22}" destId="{01021F09-2D1F-4D03-B46D-943823055552}" srcOrd="0" destOrd="0" parTransId="{BD316740-22E8-4D35-BB2E-B151094E3349}" sibTransId="{B6EE58E1-780D-4FFB-8080-2277ED422268}"/>
    <dgm:cxn modelId="{C67D2937-A6D5-44BF-8A8B-2316FB2AB51D}" type="presOf" srcId="{AA931836-67EC-4C25-BD7C-03AE368C6DE3}" destId="{6B847B8C-D7F0-4974-8DFF-2B5BA70AB85F}" srcOrd="0" destOrd="0" presId="urn:microsoft.com/office/officeart/2005/8/layout/vList2"/>
    <dgm:cxn modelId="{2DE8853E-2203-47B7-91E0-375A9139E7EF}" type="presOf" srcId="{C1DCBEA9-87D6-493A-9CF2-E87BDBDE8E22}" destId="{99BFF411-CC4F-4F26-9A66-F5F2C462B78B}" srcOrd="0" destOrd="0" presId="urn:microsoft.com/office/officeart/2005/8/layout/vList2"/>
    <dgm:cxn modelId="{9767E367-7897-46A7-B23F-0DCCF99666B5}" srcId="{C1DCBEA9-87D6-493A-9CF2-E87BDBDE8E22}" destId="{AA931836-67EC-4C25-BD7C-03AE368C6DE3}" srcOrd="1" destOrd="0" parTransId="{B2538DD4-1D4E-4674-A610-22F8C381980D}" sibTransId="{297D9F4C-0808-42EA-84BB-272EC62A69E6}"/>
    <dgm:cxn modelId="{4EE89B7C-D610-404B-81EA-CB1052AF7EF7}" srcId="{C1DCBEA9-87D6-493A-9CF2-E87BDBDE8E22}" destId="{6257F6B1-71E7-400C-AAE9-B78DAF42AAA9}" srcOrd="2" destOrd="0" parTransId="{13AC8EEF-F1E3-4F2C-B36B-555CD2A070A0}" sibTransId="{C981F7D8-194D-4534-BC92-07C9F82551F8}"/>
    <dgm:cxn modelId="{62B2927F-C16E-4662-A943-F2264DA06C42}" type="presOf" srcId="{01021F09-2D1F-4D03-B46D-943823055552}" destId="{15CD9A8C-3E0A-4D13-A7FE-D583CD7C92AF}" srcOrd="0" destOrd="0" presId="urn:microsoft.com/office/officeart/2005/8/layout/vList2"/>
    <dgm:cxn modelId="{2BCAF5B1-720B-4098-A690-6670C8221EE1}" type="presOf" srcId="{6257F6B1-71E7-400C-AAE9-B78DAF42AAA9}" destId="{C33A9ECD-F177-41F7-B563-4EDE05550E66}" srcOrd="0" destOrd="0" presId="urn:microsoft.com/office/officeart/2005/8/layout/vList2"/>
    <dgm:cxn modelId="{F4F3871C-EA4A-41B8-9B71-9101E89F127D}" type="presParOf" srcId="{99BFF411-CC4F-4F26-9A66-F5F2C462B78B}" destId="{15CD9A8C-3E0A-4D13-A7FE-D583CD7C92AF}" srcOrd="0" destOrd="0" presId="urn:microsoft.com/office/officeart/2005/8/layout/vList2"/>
    <dgm:cxn modelId="{8C22D1AD-F218-4E19-8707-D301395B57C4}" type="presParOf" srcId="{99BFF411-CC4F-4F26-9A66-F5F2C462B78B}" destId="{FCBEA8A0-9BF0-4EEA-8677-AEB54DE00D0C}" srcOrd="1" destOrd="0" presId="urn:microsoft.com/office/officeart/2005/8/layout/vList2"/>
    <dgm:cxn modelId="{4CC35A04-4285-45DD-9C15-9C8828CE46F9}" type="presParOf" srcId="{99BFF411-CC4F-4F26-9A66-F5F2C462B78B}" destId="{6B847B8C-D7F0-4974-8DFF-2B5BA70AB85F}" srcOrd="2" destOrd="0" presId="urn:microsoft.com/office/officeart/2005/8/layout/vList2"/>
    <dgm:cxn modelId="{AF04B546-1C9E-4A2B-9FEC-AD29344A0675}" type="presParOf" srcId="{99BFF411-CC4F-4F26-9A66-F5F2C462B78B}" destId="{8A8EA9BB-1594-4664-BE33-E2CAD20E9CB3}" srcOrd="3" destOrd="0" presId="urn:microsoft.com/office/officeart/2005/8/layout/vList2"/>
    <dgm:cxn modelId="{347CE678-B1FD-453F-A5F9-3AFD358D931D}" type="presParOf" srcId="{99BFF411-CC4F-4F26-9A66-F5F2C462B78B}" destId="{C33A9ECD-F177-41F7-B563-4EDE05550E66}" srcOrd="4" destOrd="0" presId="urn:microsoft.com/office/officeart/2005/8/layout/vList2"/>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32852996-0D74-481E-B7CB-10B399FC2A0E}"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6C804EE8-377D-400A-9FA4-EC7A7409125F}">
      <dgm:prSet custT="1"/>
      <dgm:spPr/>
      <dgm:t>
        <a:bodyPr/>
        <a:lstStyle/>
        <a:p>
          <a:r>
            <a:rPr lang="en-US" sz="2400" baseline="0" dirty="0"/>
            <a:t>In SQL Server, each thread is assigned a quantum (duration 4ms), with SQL Server using a cooperative model to ensure its CPU resources are shared amongst all the threads that are in a runnable state, preventing the ‘starving’ condition of any individual thread.</a:t>
          </a:r>
          <a:endParaRPr lang="en-US" sz="2400" dirty="0"/>
        </a:p>
      </dgm:t>
    </dgm:pt>
    <dgm:pt modelId="{C70FAD56-FB13-424B-AD6E-DB5B9B1DB528}" type="parTrans" cxnId="{F77CF7F4-0A43-4388-8DBC-35682680AA78}">
      <dgm:prSet/>
      <dgm:spPr/>
      <dgm:t>
        <a:bodyPr/>
        <a:lstStyle/>
        <a:p>
          <a:endParaRPr lang="en-US"/>
        </a:p>
      </dgm:t>
    </dgm:pt>
    <dgm:pt modelId="{48611546-24AC-47E7-A871-0A1E68923EE5}" type="sibTrans" cxnId="{F77CF7F4-0A43-4388-8DBC-35682680AA78}">
      <dgm:prSet/>
      <dgm:spPr/>
      <dgm:t>
        <a:bodyPr/>
        <a:lstStyle/>
        <a:p>
          <a:endParaRPr lang="en-US"/>
        </a:p>
      </dgm:t>
    </dgm:pt>
    <dgm:pt modelId="{B901652D-D0A8-43E9-8D29-B443291E9048}">
      <dgm:prSet custT="1"/>
      <dgm:spPr/>
      <dgm:t>
        <a:bodyPr/>
        <a:lstStyle/>
        <a:p>
          <a:r>
            <a:rPr lang="en-US" sz="2400" baseline="0" dirty="0"/>
            <a:t>By design, a worker owns the scheduler until it yields to another worker on the same scheduler.</a:t>
          </a:r>
          <a:endParaRPr lang="en-US" sz="2400" dirty="0"/>
        </a:p>
      </dgm:t>
    </dgm:pt>
    <dgm:pt modelId="{F12F45D7-B270-4F2F-A2C9-52934F202080}" type="parTrans" cxnId="{3F00CBA3-2333-4E4A-A198-B75C7BF9DA85}">
      <dgm:prSet/>
      <dgm:spPr/>
      <dgm:t>
        <a:bodyPr/>
        <a:lstStyle/>
        <a:p>
          <a:endParaRPr lang="en-US"/>
        </a:p>
      </dgm:t>
    </dgm:pt>
    <dgm:pt modelId="{4078F98F-0FE5-459B-A868-1F5A12641746}" type="sibTrans" cxnId="{3F00CBA3-2333-4E4A-A198-B75C7BF9DA85}">
      <dgm:prSet/>
      <dgm:spPr/>
      <dgm:t>
        <a:bodyPr/>
        <a:lstStyle/>
        <a:p>
          <a:endParaRPr lang="en-US"/>
        </a:p>
      </dgm:t>
    </dgm:pt>
    <dgm:pt modelId="{AA53E5E9-DEF6-4359-BF3D-855619BD606D}">
      <dgm:prSet custT="1"/>
      <dgm:spPr>
        <a:solidFill>
          <a:schemeClr val="accent1"/>
        </a:solidFill>
      </dgm:spPr>
      <dgm:t>
        <a:bodyPr/>
        <a:lstStyle/>
        <a:p>
          <a:r>
            <a:rPr lang="en-US" sz="2400" baseline="0" dirty="0"/>
            <a:t>When no worker is currently on the Runnable list, the </a:t>
          </a:r>
          <a:r>
            <a:rPr lang="en-US" sz="2400" b="1" baseline="0" dirty="0"/>
            <a:t>yielding worker is allowed another quantum</a:t>
          </a:r>
          <a:r>
            <a:rPr lang="en-US" sz="2400" baseline="0" dirty="0"/>
            <a:t> or performs the necessary idle scheduler maintenance.</a:t>
          </a:r>
          <a:endParaRPr lang="en-US" sz="2400" dirty="0"/>
        </a:p>
      </dgm:t>
    </dgm:pt>
    <dgm:pt modelId="{2B938D5B-99E4-4509-9644-F068EA9C10AE}" type="parTrans" cxnId="{FF0B22E0-032A-470F-B095-4B0D06B95BA0}">
      <dgm:prSet/>
      <dgm:spPr/>
      <dgm:t>
        <a:bodyPr/>
        <a:lstStyle/>
        <a:p>
          <a:endParaRPr lang="en-US"/>
        </a:p>
      </dgm:t>
    </dgm:pt>
    <dgm:pt modelId="{125784DF-5D7C-4602-93F1-901FEEEA37DE}" type="sibTrans" cxnId="{FF0B22E0-032A-470F-B095-4B0D06B95BA0}">
      <dgm:prSet/>
      <dgm:spPr/>
      <dgm:t>
        <a:bodyPr/>
        <a:lstStyle/>
        <a:p>
          <a:endParaRPr lang="en-US"/>
        </a:p>
      </dgm:t>
    </dgm:pt>
    <dgm:pt modelId="{8F8A770A-45A1-49A4-A5E9-440182343D5D}" type="pres">
      <dgm:prSet presAssocID="{32852996-0D74-481E-B7CB-10B399FC2A0E}" presName="linear" presStyleCnt="0">
        <dgm:presLayoutVars>
          <dgm:animLvl val="lvl"/>
          <dgm:resizeHandles val="exact"/>
        </dgm:presLayoutVars>
      </dgm:prSet>
      <dgm:spPr/>
    </dgm:pt>
    <dgm:pt modelId="{C8B511CA-C1BF-4295-803C-896FFFAB8E86}" type="pres">
      <dgm:prSet presAssocID="{6C804EE8-377D-400A-9FA4-EC7A7409125F}" presName="parentText" presStyleLbl="node1" presStyleIdx="0" presStyleCnt="3" custScaleY="148936">
        <dgm:presLayoutVars>
          <dgm:chMax val="0"/>
          <dgm:bulletEnabled val="1"/>
        </dgm:presLayoutVars>
      </dgm:prSet>
      <dgm:spPr/>
    </dgm:pt>
    <dgm:pt modelId="{618C8460-2D06-4166-B81D-638ACB0FB401}" type="pres">
      <dgm:prSet presAssocID="{48611546-24AC-47E7-A871-0A1E68923EE5}" presName="spacer" presStyleCnt="0"/>
      <dgm:spPr/>
    </dgm:pt>
    <dgm:pt modelId="{6EE0CC8D-0EEA-4B31-A639-4B6CFFB3C858}" type="pres">
      <dgm:prSet presAssocID="{B901652D-D0A8-43E9-8D29-B443291E9048}" presName="parentText" presStyleLbl="node1" presStyleIdx="1" presStyleCnt="3">
        <dgm:presLayoutVars>
          <dgm:chMax val="0"/>
          <dgm:bulletEnabled val="1"/>
        </dgm:presLayoutVars>
      </dgm:prSet>
      <dgm:spPr/>
    </dgm:pt>
    <dgm:pt modelId="{4658213F-0556-4660-B124-805360549033}" type="pres">
      <dgm:prSet presAssocID="{4078F98F-0FE5-459B-A868-1F5A12641746}" presName="spacer" presStyleCnt="0"/>
      <dgm:spPr/>
    </dgm:pt>
    <dgm:pt modelId="{EC126341-CE69-4EE0-8D2D-5210154866F5}" type="pres">
      <dgm:prSet presAssocID="{AA53E5E9-DEF6-4359-BF3D-855619BD606D}" presName="parentText" presStyleLbl="node1" presStyleIdx="2" presStyleCnt="3" custScaleY="118010">
        <dgm:presLayoutVars>
          <dgm:chMax val="0"/>
          <dgm:bulletEnabled val="1"/>
        </dgm:presLayoutVars>
      </dgm:prSet>
      <dgm:spPr/>
    </dgm:pt>
  </dgm:ptLst>
  <dgm:cxnLst>
    <dgm:cxn modelId="{69312123-D53A-4582-B595-DBD6D11035D4}" type="presOf" srcId="{32852996-0D74-481E-B7CB-10B399FC2A0E}" destId="{8F8A770A-45A1-49A4-A5E9-440182343D5D}" srcOrd="0" destOrd="0" presId="urn:microsoft.com/office/officeart/2005/8/layout/vList2"/>
    <dgm:cxn modelId="{4F58DC3A-0EC5-4806-8FB1-A4B0637C4746}" type="presOf" srcId="{B901652D-D0A8-43E9-8D29-B443291E9048}" destId="{6EE0CC8D-0EEA-4B31-A639-4B6CFFB3C858}" srcOrd="0" destOrd="0" presId="urn:microsoft.com/office/officeart/2005/8/layout/vList2"/>
    <dgm:cxn modelId="{D08094A2-0A7F-41CE-A4D2-721A4E7D6F61}" type="presOf" srcId="{AA53E5E9-DEF6-4359-BF3D-855619BD606D}" destId="{EC126341-CE69-4EE0-8D2D-5210154866F5}" srcOrd="0" destOrd="0" presId="urn:microsoft.com/office/officeart/2005/8/layout/vList2"/>
    <dgm:cxn modelId="{3F00CBA3-2333-4E4A-A198-B75C7BF9DA85}" srcId="{32852996-0D74-481E-B7CB-10B399FC2A0E}" destId="{B901652D-D0A8-43E9-8D29-B443291E9048}" srcOrd="1" destOrd="0" parTransId="{F12F45D7-B270-4F2F-A2C9-52934F202080}" sibTransId="{4078F98F-0FE5-459B-A868-1F5A12641746}"/>
    <dgm:cxn modelId="{83F4F1B4-937B-481B-B85F-3446BFFC85A5}" type="presOf" srcId="{6C804EE8-377D-400A-9FA4-EC7A7409125F}" destId="{C8B511CA-C1BF-4295-803C-896FFFAB8E86}" srcOrd="0" destOrd="0" presId="urn:microsoft.com/office/officeart/2005/8/layout/vList2"/>
    <dgm:cxn modelId="{FF0B22E0-032A-470F-B095-4B0D06B95BA0}" srcId="{32852996-0D74-481E-B7CB-10B399FC2A0E}" destId="{AA53E5E9-DEF6-4359-BF3D-855619BD606D}" srcOrd="2" destOrd="0" parTransId="{2B938D5B-99E4-4509-9644-F068EA9C10AE}" sibTransId="{125784DF-5D7C-4602-93F1-901FEEEA37DE}"/>
    <dgm:cxn modelId="{F77CF7F4-0A43-4388-8DBC-35682680AA78}" srcId="{32852996-0D74-481E-B7CB-10B399FC2A0E}" destId="{6C804EE8-377D-400A-9FA4-EC7A7409125F}" srcOrd="0" destOrd="0" parTransId="{C70FAD56-FB13-424B-AD6E-DB5B9B1DB528}" sibTransId="{48611546-24AC-47E7-A871-0A1E68923EE5}"/>
    <dgm:cxn modelId="{83428A4A-8AFE-4A83-BD3D-EE7D0BE969FA}" type="presParOf" srcId="{8F8A770A-45A1-49A4-A5E9-440182343D5D}" destId="{C8B511CA-C1BF-4295-803C-896FFFAB8E86}" srcOrd="0" destOrd="0" presId="urn:microsoft.com/office/officeart/2005/8/layout/vList2"/>
    <dgm:cxn modelId="{111DD76D-110F-4037-9661-A2C1365DE936}" type="presParOf" srcId="{8F8A770A-45A1-49A4-A5E9-440182343D5D}" destId="{618C8460-2D06-4166-B81D-638ACB0FB401}" srcOrd="1" destOrd="0" presId="urn:microsoft.com/office/officeart/2005/8/layout/vList2"/>
    <dgm:cxn modelId="{3D54BBB9-19A4-4905-80DC-A28E9177BA89}" type="presParOf" srcId="{8F8A770A-45A1-49A4-A5E9-440182343D5D}" destId="{6EE0CC8D-0EEA-4B31-A639-4B6CFFB3C858}" srcOrd="2" destOrd="0" presId="urn:microsoft.com/office/officeart/2005/8/layout/vList2"/>
    <dgm:cxn modelId="{64048822-7D73-4997-B7F0-D5AEDDF910A4}" type="presParOf" srcId="{8F8A770A-45A1-49A4-A5E9-440182343D5D}" destId="{4658213F-0556-4660-B124-805360549033}" srcOrd="3" destOrd="0" presId="urn:microsoft.com/office/officeart/2005/8/layout/vList2"/>
    <dgm:cxn modelId="{9DDA7C99-2E36-40D2-82EA-4A8DFDC4762E}" type="presParOf" srcId="{8F8A770A-45A1-49A4-A5E9-440182343D5D}" destId="{EC126341-CE69-4EE0-8D2D-5210154866F5}" srcOrd="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CFE222-2D5A-4A1B-9046-4D065BA79C36}">
      <dsp:nvSpPr>
        <dsp:cNvPr id="0" name=""/>
        <dsp:cNvSpPr/>
      </dsp:nvSpPr>
      <dsp:spPr>
        <a:xfrm>
          <a:off x="53" y="55778"/>
          <a:ext cx="5124502" cy="7200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dirty="0"/>
            <a:t>Management</a:t>
          </a:r>
        </a:p>
      </dsp:txBody>
      <dsp:txXfrm>
        <a:off x="53" y="55778"/>
        <a:ext cx="5124502" cy="720000"/>
      </dsp:txXfrm>
    </dsp:sp>
    <dsp:sp modelId="{E00CBA4F-BD30-43E5-804F-0C1AFABFED89}">
      <dsp:nvSpPr>
        <dsp:cNvPr id="0" name=""/>
        <dsp:cNvSpPr/>
      </dsp:nvSpPr>
      <dsp:spPr>
        <a:xfrm>
          <a:off x="53" y="775778"/>
          <a:ext cx="5124502" cy="452925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dirty="0">
              <a:latin typeface="+mj-lt"/>
            </a:rPr>
            <a:t>Memory Manager</a:t>
          </a:r>
          <a:endParaRPr lang="en-US" sz="2500" kern="1200" dirty="0"/>
        </a:p>
        <a:p>
          <a:pPr marL="228600" lvl="1" indent="-228600" algn="l" defTabSz="1111250">
            <a:lnSpc>
              <a:spcPct val="90000"/>
            </a:lnSpc>
            <a:spcBef>
              <a:spcPct val="0"/>
            </a:spcBef>
            <a:spcAft>
              <a:spcPct val="15000"/>
            </a:spcAft>
            <a:buChar char="•"/>
          </a:pPr>
          <a:r>
            <a:rPr lang="en-US" sz="2500" kern="1200" dirty="0">
              <a:latin typeface="+mj-lt"/>
            </a:rPr>
            <a:t>Process Scheduler</a:t>
          </a:r>
        </a:p>
        <a:p>
          <a:pPr marL="228600" lvl="1" indent="-228600" algn="l" defTabSz="1111250">
            <a:lnSpc>
              <a:spcPct val="90000"/>
            </a:lnSpc>
            <a:spcBef>
              <a:spcPct val="0"/>
            </a:spcBef>
            <a:spcAft>
              <a:spcPct val="15000"/>
            </a:spcAft>
            <a:buChar char="•"/>
          </a:pPr>
          <a:r>
            <a:rPr lang="en-US" sz="2500" kern="1200">
              <a:latin typeface="+mj-lt"/>
            </a:rPr>
            <a:t>Synchronization</a:t>
          </a:r>
          <a:endParaRPr lang="en-US" sz="2500" kern="1200" dirty="0">
            <a:latin typeface="+mj-lt"/>
          </a:endParaRPr>
        </a:p>
        <a:p>
          <a:pPr marL="228600" lvl="1" indent="-228600" algn="l" defTabSz="1111250">
            <a:lnSpc>
              <a:spcPct val="90000"/>
            </a:lnSpc>
            <a:spcBef>
              <a:spcPct val="0"/>
            </a:spcBef>
            <a:spcAft>
              <a:spcPct val="15000"/>
            </a:spcAft>
            <a:buChar char="•"/>
          </a:pPr>
          <a:r>
            <a:rPr lang="en-US" sz="2500" kern="1200" dirty="0">
              <a:latin typeface="+mj-lt"/>
            </a:rPr>
            <a:t>I/O</a:t>
          </a:r>
        </a:p>
        <a:p>
          <a:pPr marL="228600" lvl="1" indent="-228600" algn="l" defTabSz="1111250">
            <a:lnSpc>
              <a:spcPct val="90000"/>
            </a:lnSpc>
            <a:spcBef>
              <a:spcPct val="0"/>
            </a:spcBef>
            <a:spcAft>
              <a:spcPct val="15000"/>
            </a:spcAft>
            <a:buChar char="•"/>
          </a:pPr>
          <a:r>
            <a:rPr lang="en-US" sz="2500" kern="1200" dirty="0">
              <a:latin typeface="+mj-lt"/>
            </a:rPr>
            <a:t>Support for Non-Uniform Memory Access (NUMA) and Resource Governor</a:t>
          </a:r>
        </a:p>
      </dsp:txBody>
      <dsp:txXfrm>
        <a:off x="53" y="775778"/>
        <a:ext cx="5124502" cy="4529250"/>
      </dsp:txXfrm>
    </dsp:sp>
    <dsp:sp modelId="{45D8A25D-87CA-4E0A-85F2-3D16A7C72C1D}">
      <dsp:nvSpPr>
        <dsp:cNvPr id="0" name=""/>
        <dsp:cNvSpPr/>
      </dsp:nvSpPr>
      <dsp:spPr>
        <a:xfrm>
          <a:off x="5841986" y="55778"/>
          <a:ext cx="5124502" cy="7200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dirty="0"/>
            <a:t>Monitoring</a:t>
          </a:r>
        </a:p>
      </dsp:txBody>
      <dsp:txXfrm>
        <a:off x="5841986" y="55778"/>
        <a:ext cx="5124502" cy="720000"/>
      </dsp:txXfrm>
    </dsp:sp>
    <dsp:sp modelId="{AD34648F-7D87-49A8-ACEF-388E87F344EC}">
      <dsp:nvSpPr>
        <dsp:cNvPr id="0" name=""/>
        <dsp:cNvSpPr/>
      </dsp:nvSpPr>
      <dsp:spPr>
        <a:xfrm>
          <a:off x="5841986" y="775778"/>
          <a:ext cx="5124502" cy="452925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dirty="0">
              <a:latin typeface="+mj-lt"/>
            </a:rPr>
            <a:t>Resource Monitor</a:t>
          </a:r>
          <a:endParaRPr lang="en-US" sz="2500" kern="1200" dirty="0"/>
        </a:p>
        <a:p>
          <a:pPr marL="228600" lvl="1" indent="-228600" algn="l" defTabSz="1111250">
            <a:lnSpc>
              <a:spcPct val="90000"/>
            </a:lnSpc>
            <a:spcBef>
              <a:spcPct val="0"/>
            </a:spcBef>
            <a:spcAft>
              <a:spcPct val="15000"/>
            </a:spcAft>
            <a:buChar char="•"/>
          </a:pPr>
          <a:r>
            <a:rPr lang="en-US" sz="2500" kern="1200">
              <a:latin typeface="+mj-lt"/>
            </a:rPr>
            <a:t>Deadlock Monitor</a:t>
          </a:r>
          <a:endParaRPr lang="en-US" sz="2500" kern="1200" dirty="0">
            <a:latin typeface="+mj-lt"/>
          </a:endParaRPr>
        </a:p>
        <a:p>
          <a:pPr marL="228600" lvl="1" indent="-228600" algn="l" defTabSz="1111250">
            <a:lnSpc>
              <a:spcPct val="90000"/>
            </a:lnSpc>
            <a:spcBef>
              <a:spcPct val="0"/>
            </a:spcBef>
            <a:spcAft>
              <a:spcPct val="15000"/>
            </a:spcAft>
            <a:buChar char="•"/>
          </a:pPr>
          <a:r>
            <a:rPr lang="en-US" sz="2500" kern="1200">
              <a:latin typeface="+mj-lt"/>
            </a:rPr>
            <a:t>Scheduler Monitor</a:t>
          </a:r>
          <a:endParaRPr lang="en-US" sz="2500" kern="1200" dirty="0">
            <a:latin typeface="+mj-lt"/>
          </a:endParaRPr>
        </a:p>
        <a:p>
          <a:pPr marL="228600" lvl="1" indent="-228600" algn="l" defTabSz="1111250">
            <a:lnSpc>
              <a:spcPct val="90000"/>
            </a:lnSpc>
            <a:spcBef>
              <a:spcPct val="0"/>
            </a:spcBef>
            <a:spcAft>
              <a:spcPct val="15000"/>
            </a:spcAft>
            <a:buChar char="•"/>
          </a:pPr>
          <a:r>
            <a:rPr lang="en-US" sz="2500" kern="1200">
              <a:latin typeface="+mj-lt"/>
            </a:rPr>
            <a:t>Lazy Writer (Buffer Pool management)</a:t>
          </a:r>
          <a:endParaRPr lang="en-US" sz="2500" kern="1200" dirty="0">
            <a:latin typeface="+mj-lt"/>
          </a:endParaRPr>
        </a:p>
        <a:p>
          <a:pPr marL="228600" lvl="1" indent="-228600" algn="l" defTabSz="1111250">
            <a:lnSpc>
              <a:spcPct val="90000"/>
            </a:lnSpc>
            <a:spcBef>
              <a:spcPct val="0"/>
            </a:spcBef>
            <a:spcAft>
              <a:spcPct val="15000"/>
            </a:spcAft>
            <a:buChar char="•"/>
          </a:pPr>
          <a:r>
            <a:rPr lang="en-US" sz="2500" kern="1200">
              <a:latin typeface="+mj-lt"/>
            </a:rPr>
            <a:t>Dynamic Management Views (DMVs)</a:t>
          </a:r>
          <a:endParaRPr lang="en-US" sz="2500" kern="1200" dirty="0">
            <a:latin typeface="+mj-lt"/>
          </a:endParaRPr>
        </a:p>
        <a:p>
          <a:pPr marL="228600" lvl="1" indent="-228600" algn="l" defTabSz="1111250">
            <a:lnSpc>
              <a:spcPct val="90000"/>
            </a:lnSpc>
            <a:spcBef>
              <a:spcPct val="0"/>
            </a:spcBef>
            <a:spcAft>
              <a:spcPct val="15000"/>
            </a:spcAft>
            <a:buChar char="•"/>
          </a:pPr>
          <a:r>
            <a:rPr lang="en-US" sz="2500" kern="1200">
              <a:latin typeface="+mj-lt"/>
            </a:rPr>
            <a:t>Extended Events</a:t>
          </a:r>
          <a:endParaRPr lang="en-US" sz="2500" kern="1200" dirty="0">
            <a:latin typeface="+mj-lt"/>
          </a:endParaRPr>
        </a:p>
        <a:p>
          <a:pPr marL="228600" lvl="1" indent="-228600" algn="l" defTabSz="1111250">
            <a:lnSpc>
              <a:spcPct val="90000"/>
            </a:lnSpc>
            <a:spcBef>
              <a:spcPct val="0"/>
            </a:spcBef>
            <a:spcAft>
              <a:spcPct val="15000"/>
            </a:spcAft>
            <a:buChar char="•"/>
          </a:pPr>
          <a:r>
            <a:rPr lang="en-US" sz="2500" kern="1200" dirty="0">
              <a:latin typeface="+mj-lt"/>
            </a:rPr>
            <a:t>Dedicated Administrator Connection (DAC)</a:t>
          </a:r>
          <a:endParaRPr lang="en-US" sz="2500" kern="1200" dirty="0"/>
        </a:p>
      </dsp:txBody>
      <dsp:txXfrm>
        <a:off x="5841986" y="775778"/>
        <a:ext cx="5124502" cy="452925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F50DC7-A385-4C3D-85E8-5A190CB72709}">
      <dsp:nvSpPr>
        <dsp:cNvPr id="0" name=""/>
        <dsp:cNvSpPr/>
      </dsp:nvSpPr>
      <dsp:spPr>
        <a:xfrm>
          <a:off x="6184" y="859045"/>
          <a:ext cx="1718203" cy="1718203"/>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CPU Time (RUNNING)</a:t>
          </a:r>
          <a:endParaRPr lang="pt-PT" sz="1500" kern="1200">
            <a:latin typeface="Segoe UI Light" panose="020B0502040204020203" pitchFamily="34" charset="0"/>
            <a:cs typeface="Segoe UI Light" panose="020B0502040204020203" pitchFamily="34" charset="0"/>
          </a:endParaRPr>
        </a:p>
      </dsp:txBody>
      <dsp:txXfrm>
        <a:off x="257809" y="1110670"/>
        <a:ext cx="1214953" cy="1214953"/>
      </dsp:txXfrm>
    </dsp:sp>
    <dsp:sp modelId="{6673E2C0-687C-4813-9CDF-C1D7AB877466}">
      <dsp:nvSpPr>
        <dsp:cNvPr id="0" name=""/>
        <dsp:cNvSpPr/>
      </dsp:nvSpPr>
      <dsp:spPr>
        <a:xfrm>
          <a:off x="1863906" y="1219868"/>
          <a:ext cx="996558" cy="996558"/>
        </a:xfrm>
        <a:prstGeom prst="mathPlus">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pt-PT" sz="1200" kern="1200">
            <a:latin typeface="Segoe UI Light" panose="020B0502040204020203" pitchFamily="34" charset="0"/>
            <a:cs typeface="Segoe UI Light" panose="020B0502040204020203" pitchFamily="34" charset="0"/>
          </a:endParaRPr>
        </a:p>
      </dsp:txBody>
      <dsp:txXfrm>
        <a:off x="1996000" y="1600952"/>
        <a:ext cx="732370" cy="234390"/>
      </dsp:txXfrm>
    </dsp:sp>
    <dsp:sp modelId="{10CBBA21-79EB-41F6-B412-F391EAA0507A}">
      <dsp:nvSpPr>
        <dsp:cNvPr id="0" name=""/>
        <dsp:cNvSpPr/>
      </dsp:nvSpPr>
      <dsp:spPr>
        <a:xfrm>
          <a:off x="2999982" y="859045"/>
          <a:ext cx="1718203" cy="1718203"/>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Signal Wait Time (RUNNABLE)</a:t>
          </a:r>
          <a:endParaRPr lang="pt-PT" sz="1500" kern="1200">
            <a:latin typeface="Segoe UI Light" panose="020B0502040204020203" pitchFamily="34" charset="0"/>
            <a:cs typeface="Segoe UI Light" panose="020B0502040204020203" pitchFamily="34" charset="0"/>
          </a:endParaRPr>
        </a:p>
      </dsp:txBody>
      <dsp:txXfrm>
        <a:off x="3251607" y="1110670"/>
        <a:ext cx="1214953" cy="1214953"/>
      </dsp:txXfrm>
    </dsp:sp>
    <dsp:sp modelId="{8B0DDA86-1B95-48DA-B6BA-3D7A249A161A}">
      <dsp:nvSpPr>
        <dsp:cNvPr id="0" name=""/>
        <dsp:cNvSpPr/>
      </dsp:nvSpPr>
      <dsp:spPr>
        <a:xfrm>
          <a:off x="4857703" y="1219868"/>
          <a:ext cx="996558" cy="996558"/>
        </a:xfrm>
        <a:prstGeom prst="mathPlus">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989797" y="1600952"/>
        <a:ext cx="732370" cy="234390"/>
      </dsp:txXfrm>
    </dsp:sp>
    <dsp:sp modelId="{8654DA70-295E-47B4-95D9-098230C9A89A}">
      <dsp:nvSpPr>
        <dsp:cNvPr id="0" name=""/>
        <dsp:cNvSpPr/>
      </dsp:nvSpPr>
      <dsp:spPr>
        <a:xfrm>
          <a:off x="5993780" y="859045"/>
          <a:ext cx="1718203" cy="1718203"/>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Resource Wait Time (SUSPENDED)</a:t>
          </a:r>
          <a:endParaRPr lang="pt-PT" sz="1500" kern="1200">
            <a:latin typeface="Segoe UI Light" panose="020B0502040204020203" pitchFamily="34" charset="0"/>
            <a:cs typeface="Segoe UI Light" panose="020B0502040204020203" pitchFamily="34" charset="0"/>
          </a:endParaRPr>
        </a:p>
      </dsp:txBody>
      <dsp:txXfrm>
        <a:off x="6245405" y="1110670"/>
        <a:ext cx="1214953" cy="1214953"/>
      </dsp:txXfrm>
    </dsp:sp>
    <dsp:sp modelId="{46BABBF9-D006-443D-8111-5C6F404BF7AA}">
      <dsp:nvSpPr>
        <dsp:cNvPr id="0" name=""/>
        <dsp:cNvSpPr/>
      </dsp:nvSpPr>
      <dsp:spPr>
        <a:xfrm>
          <a:off x="7851501" y="1219868"/>
          <a:ext cx="996558" cy="996558"/>
        </a:xfrm>
        <a:prstGeom prst="mathEqual">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7983595" y="1425159"/>
        <a:ext cx="732370" cy="585976"/>
      </dsp:txXfrm>
    </dsp:sp>
    <dsp:sp modelId="{1E63E032-A34B-40F9-9996-7094989E1D20}">
      <dsp:nvSpPr>
        <dsp:cNvPr id="0" name=""/>
        <dsp:cNvSpPr/>
      </dsp:nvSpPr>
      <dsp:spPr>
        <a:xfrm>
          <a:off x="8987577" y="859045"/>
          <a:ext cx="1718203" cy="1718203"/>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pt-PT" sz="1500" kern="1200">
              <a:latin typeface="Segoe UI Light" panose="020B0502040204020203" pitchFamily="34" charset="0"/>
              <a:cs typeface="Segoe UI Light" panose="020B0502040204020203" pitchFamily="34" charset="0"/>
            </a:rPr>
            <a:t>Total Query Response Time</a:t>
          </a:r>
        </a:p>
      </dsp:txBody>
      <dsp:txXfrm>
        <a:off x="9239202" y="1110670"/>
        <a:ext cx="1214953" cy="1214953"/>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9B919B-8852-4200-8241-428B1FA32C75}">
      <dsp:nvSpPr>
        <dsp:cNvPr id="0" name=""/>
        <dsp:cNvSpPr/>
      </dsp:nvSpPr>
      <dsp:spPr>
        <a:xfrm>
          <a:off x="0" y="325746"/>
          <a:ext cx="10880725" cy="1311975"/>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54076" rIns="844465" bIns="120904" numCol="1" spcCol="1270" anchor="t" anchorCtr="0">
          <a:noAutofit/>
        </a:bodyPr>
        <a:lstStyle/>
        <a:p>
          <a:pPr marL="171450" lvl="1" indent="-171450" algn="l" defTabSz="755650" rtl="0">
            <a:lnSpc>
              <a:spcPct val="90000"/>
            </a:lnSpc>
            <a:spcBef>
              <a:spcPct val="0"/>
            </a:spcBef>
            <a:spcAft>
              <a:spcPct val="15000"/>
            </a:spcAft>
            <a:buChar char="•"/>
          </a:pPr>
          <a:r>
            <a:rPr lang="en-US" sz="1700" kern="1200" dirty="0"/>
            <a:t>Returns information about all the waits encountered by threads that ran.</a:t>
          </a:r>
        </a:p>
        <a:p>
          <a:pPr marL="171450" lvl="1" indent="-171450" algn="l" defTabSz="755650" rtl="0">
            <a:lnSpc>
              <a:spcPct val="90000"/>
            </a:lnSpc>
            <a:spcBef>
              <a:spcPct val="0"/>
            </a:spcBef>
            <a:spcAft>
              <a:spcPct val="15000"/>
            </a:spcAft>
            <a:buChar char="•"/>
          </a:pPr>
          <a:r>
            <a:rPr lang="en-US" sz="1700" kern="1200" dirty="0"/>
            <a:t>Includes wait type, number of tasks that waited in the specific wait type, total and max wait times, and the amount of signal waits.</a:t>
          </a:r>
        </a:p>
      </dsp:txBody>
      <dsp:txXfrm>
        <a:off x="0" y="325746"/>
        <a:ext cx="10880725" cy="1311975"/>
      </dsp:txXfrm>
    </dsp:sp>
    <dsp:sp modelId="{C07A040C-EF9E-45F2-9214-97707786A867}">
      <dsp:nvSpPr>
        <dsp:cNvPr id="0" name=""/>
        <dsp:cNvSpPr/>
      </dsp:nvSpPr>
      <dsp:spPr>
        <a:xfrm>
          <a:off x="544036" y="74826"/>
          <a:ext cx="7616507" cy="50184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55650" rtl="0">
            <a:lnSpc>
              <a:spcPct val="90000"/>
            </a:lnSpc>
            <a:spcBef>
              <a:spcPct val="0"/>
            </a:spcBef>
            <a:spcAft>
              <a:spcPct val="35000"/>
            </a:spcAft>
            <a:buNone/>
          </a:pPr>
          <a:r>
            <a:rPr lang="pt-PT" sz="1700" kern="1200" dirty="0"/>
            <a:t>sys.dm_os_wait_stats</a:t>
          </a:r>
        </a:p>
      </dsp:txBody>
      <dsp:txXfrm>
        <a:off x="568534" y="99324"/>
        <a:ext cx="7567511" cy="452844"/>
      </dsp:txXfrm>
    </dsp:sp>
    <dsp:sp modelId="{F5EC977E-C613-4B96-A43C-60E20366B299}">
      <dsp:nvSpPr>
        <dsp:cNvPr id="0" name=""/>
        <dsp:cNvSpPr/>
      </dsp:nvSpPr>
      <dsp:spPr>
        <a:xfrm>
          <a:off x="0" y="1980441"/>
          <a:ext cx="10880725" cy="736312"/>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54076" rIns="844465" bIns="120904" numCol="1" spcCol="1270" anchor="t" anchorCtr="0">
          <a:noAutofit/>
        </a:bodyPr>
        <a:lstStyle/>
        <a:p>
          <a:pPr marL="171450" lvl="1" indent="-171450" algn="l" defTabSz="755650" rtl="0">
            <a:lnSpc>
              <a:spcPct val="90000"/>
            </a:lnSpc>
            <a:spcBef>
              <a:spcPct val="0"/>
            </a:spcBef>
            <a:spcAft>
              <a:spcPct val="15000"/>
            </a:spcAft>
            <a:buChar char="•"/>
          </a:pPr>
          <a:r>
            <a:rPr lang="en-US" sz="1700" kern="1200" dirty="0"/>
            <a:t>Returns information about the wait queue of tasks actively waiting on some resource.</a:t>
          </a:r>
        </a:p>
      </dsp:txBody>
      <dsp:txXfrm>
        <a:off x="0" y="1980441"/>
        <a:ext cx="10880725" cy="736312"/>
      </dsp:txXfrm>
    </dsp:sp>
    <dsp:sp modelId="{83AE0A70-2509-45B2-A632-605C7EC79E8F}">
      <dsp:nvSpPr>
        <dsp:cNvPr id="0" name=""/>
        <dsp:cNvSpPr/>
      </dsp:nvSpPr>
      <dsp:spPr>
        <a:xfrm>
          <a:off x="544036" y="1729521"/>
          <a:ext cx="7616507" cy="50184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55650" rtl="0">
            <a:lnSpc>
              <a:spcPct val="90000"/>
            </a:lnSpc>
            <a:spcBef>
              <a:spcPct val="0"/>
            </a:spcBef>
            <a:spcAft>
              <a:spcPct val="35000"/>
            </a:spcAft>
            <a:buNone/>
          </a:pPr>
          <a:r>
            <a:rPr lang="pt-PT" sz="1700" kern="1200" dirty="0"/>
            <a:t>sys.dm_os_waiting_tasks</a:t>
          </a:r>
        </a:p>
      </dsp:txBody>
      <dsp:txXfrm>
        <a:off x="568534" y="1754019"/>
        <a:ext cx="7567511" cy="452844"/>
      </dsp:txXfrm>
    </dsp:sp>
    <dsp:sp modelId="{64039597-9573-42C8-9A8B-A77492C84F44}">
      <dsp:nvSpPr>
        <dsp:cNvPr id="0" name=""/>
        <dsp:cNvSpPr/>
      </dsp:nvSpPr>
      <dsp:spPr>
        <a:xfrm>
          <a:off x="0" y="3059473"/>
          <a:ext cx="10880725" cy="1311975"/>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54076" rIns="844465" bIns="120904" numCol="1" spcCol="1270" anchor="t" anchorCtr="0">
          <a:noAutofit/>
        </a:bodyPr>
        <a:lstStyle/>
        <a:p>
          <a:pPr marL="171450" lvl="1" indent="-171450" algn="l" defTabSz="755650" rtl="0">
            <a:lnSpc>
              <a:spcPct val="90000"/>
            </a:lnSpc>
            <a:spcBef>
              <a:spcPct val="0"/>
            </a:spcBef>
            <a:spcAft>
              <a:spcPct val="15000"/>
            </a:spcAft>
            <a:buChar char="•"/>
          </a:pPr>
          <a:r>
            <a:rPr lang="en-US" sz="1700" kern="1200" dirty="0"/>
            <a:t>Returns information about each request that is in-flight.</a:t>
          </a:r>
        </a:p>
        <a:p>
          <a:pPr marL="171450" lvl="1" indent="-171450" algn="l" defTabSz="755650" rtl="0">
            <a:lnSpc>
              <a:spcPct val="90000"/>
            </a:lnSpc>
            <a:spcBef>
              <a:spcPct val="0"/>
            </a:spcBef>
            <a:spcAft>
              <a:spcPct val="15000"/>
            </a:spcAft>
            <a:buChar char="•"/>
          </a:pPr>
          <a:r>
            <a:rPr lang="en-US" sz="1700" kern="1200" dirty="0"/>
            <a:t>Includes session owning the request and status of the request, which will reflect the status of one or more tasks assigned to the request.</a:t>
          </a:r>
        </a:p>
      </dsp:txBody>
      <dsp:txXfrm>
        <a:off x="0" y="3059473"/>
        <a:ext cx="10880725" cy="1311975"/>
      </dsp:txXfrm>
    </dsp:sp>
    <dsp:sp modelId="{13D6AD74-28B3-40F7-860A-D3D90B551BB7}">
      <dsp:nvSpPr>
        <dsp:cNvPr id="0" name=""/>
        <dsp:cNvSpPr/>
      </dsp:nvSpPr>
      <dsp:spPr>
        <a:xfrm>
          <a:off x="544036" y="2808553"/>
          <a:ext cx="7616507" cy="50184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55650" rtl="0">
            <a:lnSpc>
              <a:spcPct val="90000"/>
            </a:lnSpc>
            <a:spcBef>
              <a:spcPct val="0"/>
            </a:spcBef>
            <a:spcAft>
              <a:spcPct val="35000"/>
            </a:spcAft>
            <a:buNone/>
          </a:pPr>
          <a:r>
            <a:rPr lang="en-US" sz="1700" kern="1200" dirty="0" err="1"/>
            <a:t>sys.dm_exec_requests</a:t>
          </a:r>
          <a:endParaRPr lang="en-US" sz="1700" kern="1200" dirty="0"/>
        </a:p>
      </dsp:txBody>
      <dsp:txXfrm>
        <a:off x="568534" y="2833051"/>
        <a:ext cx="7567511" cy="452844"/>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87F789-DFE6-44F4-8E5E-71E4A744CB52}">
      <dsp:nvSpPr>
        <dsp:cNvPr id="0" name=""/>
        <dsp:cNvSpPr/>
      </dsp:nvSpPr>
      <dsp:spPr>
        <a:xfrm>
          <a:off x="0" y="0"/>
          <a:ext cx="8903719" cy="0"/>
        </a:xfrm>
        <a:prstGeom prst="line">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w="9525" cap="flat" cmpd="sng" algn="ctr">
          <a:solidFill>
            <a:schemeClr val="accent5">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ED11F7B8-06E0-4993-AB44-28A6764FC2AF}">
      <dsp:nvSpPr>
        <dsp:cNvPr id="0" name=""/>
        <dsp:cNvSpPr/>
      </dsp:nvSpPr>
      <dsp:spPr>
        <a:xfrm>
          <a:off x="0" y="1968"/>
          <a:ext cx="8903719" cy="24268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ctr" defTabSz="1600200">
            <a:lnSpc>
              <a:spcPct val="90000"/>
            </a:lnSpc>
            <a:spcBef>
              <a:spcPct val="0"/>
            </a:spcBef>
            <a:spcAft>
              <a:spcPct val="35000"/>
            </a:spcAft>
            <a:buNone/>
          </a:pPr>
          <a:r>
            <a:rPr lang="en-US" sz="3600" kern="1200" dirty="0"/>
            <a:t>Aaron Bertrand – Top Wait Types </a:t>
          </a:r>
          <a:r>
            <a:rPr lang="en-US" sz="3600" kern="1200" dirty="0">
              <a:hlinkClick xmlns:r="http://schemas.openxmlformats.org/officeDocument/2006/relationships" r:id="rId1"/>
            </a:rPr>
            <a:t>https://sqlperformance.com/2018/10/sql-performance/top-wait-stats</a:t>
          </a:r>
          <a:endParaRPr lang="en-US" sz="3600" kern="1200" dirty="0"/>
        </a:p>
      </dsp:txBody>
      <dsp:txXfrm>
        <a:off x="0" y="1968"/>
        <a:ext cx="8903719" cy="2426810"/>
      </dsp:txXfrm>
    </dsp:sp>
    <dsp:sp modelId="{04FA338E-0DB5-4024-B1C6-4F4E0889B3A0}">
      <dsp:nvSpPr>
        <dsp:cNvPr id="0" name=""/>
        <dsp:cNvSpPr/>
      </dsp:nvSpPr>
      <dsp:spPr>
        <a:xfrm>
          <a:off x="0" y="2117316"/>
          <a:ext cx="8903719" cy="0"/>
        </a:xfrm>
        <a:prstGeom prst="line">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w="38100" cap="flat" cmpd="sng" algn="ctr">
          <a:solidFill>
            <a:schemeClr val="accent4">
              <a:lumMod val="7500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13251EE6-82F1-40FA-8F1D-885623A2FD01}">
      <dsp:nvSpPr>
        <dsp:cNvPr id="0" name=""/>
        <dsp:cNvSpPr/>
      </dsp:nvSpPr>
      <dsp:spPr>
        <a:xfrm>
          <a:off x="0" y="2428778"/>
          <a:ext cx="8903719" cy="16767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ctr" defTabSz="1600200">
            <a:lnSpc>
              <a:spcPct val="90000"/>
            </a:lnSpc>
            <a:spcBef>
              <a:spcPct val="0"/>
            </a:spcBef>
            <a:spcAft>
              <a:spcPct val="35000"/>
            </a:spcAft>
            <a:buNone/>
          </a:pPr>
          <a:r>
            <a:rPr lang="en-US" sz="3600" kern="1200" dirty="0"/>
            <a:t>Paul Randal – SQL Skills Wait Types Library </a:t>
          </a:r>
          <a:r>
            <a:rPr lang="en-US" sz="3600" kern="1200" dirty="0">
              <a:hlinkClick xmlns:r="http://schemas.openxmlformats.org/officeDocument/2006/relationships" r:id="rId2"/>
            </a:rPr>
            <a:t>https://www.sqlskills.com/help/waits/</a:t>
          </a:r>
          <a:endParaRPr lang="en-US" sz="3600" kern="1200" dirty="0"/>
        </a:p>
      </dsp:txBody>
      <dsp:txXfrm>
        <a:off x="0" y="2428778"/>
        <a:ext cx="8903719" cy="167678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276CA2-6909-480D-A02E-797D41D36A42}">
      <dsp:nvSpPr>
        <dsp:cNvPr id="0" name=""/>
        <dsp:cNvSpPr/>
      </dsp:nvSpPr>
      <dsp:spPr>
        <a:xfrm>
          <a:off x="0" y="251533"/>
          <a:ext cx="10880726" cy="2520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33248"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dirty="0">
              <a:latin typeface="Segoe UI" panose="020B0502040204020203" pitchFamily="34" charset="0"/>
            </a:rPr>
            <a:t>One .mdf file per database</a:t>
          </a:r>
        </a:p>
        <a:p>
          <a:pPr marL="228600" lvl="1" indent="-228600" algn="l" defTabSz="889000">
            <a:lnSpc>
              <a:spcPct val="90000"/>
            </a:lnSpc>
            <a:spcBef>
              <a:spcPct val="0"/>
            </a:spcBef>
            <a:spcAft>
              <a:spcPct val="15000"/>
            </a:spcAft>
            <a:buChar char="•"/>
          </a:pPr>
          <a:r>
            <a:rPr lang="en-US" sz="2000" kern="1200" dirty="0">
              <a:latin typeface="Segoe UI" panose="020B0502040204020203" pitchFamily="34" charset="0"/>
            </a:rPr>
            <a:t>May have one or more .ndf file</a:t>
          </a:r>
        </a:p>
        <a:p>
          <a:pPr marL="228600" lvl="1" indent="-228600" algn="l" defTabSz="889000">
            <a:lnSpc>
              <a:spcPct val="90000"/>
            </a:lnSpc>
            <a:spcBef>
              <a:spcPct val="0"/>
            </a:spcBef>
            <a:spcAft>
              <a:spcPct val="15000"/>
            </a:spcAft>
            <a:buChar char="•"/>
          </a:pPr>
          <a:r>
            <a:rPr lang="en-US" sz="2000" kern="1200" dirty="0">
              <a:latin typeface="Segoe UI" panose="020B0502040204020203" pitchFamily="34" charset="0"/>
            </a:rPr>
            <a:t>Random reads and writes</a:t>
          </a:r>
        </a:p>
        <a:p>
          <a:pPr marL="457200" lvl="2" indent="-228600" algn="l" defTabSz="889000">
            <a:lnSpc>
              <a:spcPct val="90000"/>
            </a:lnSpc>
            <a:spcBef>
              <a:spcPct val="0"/>
            </a:spcBef>
            <a:spcAft>
              <a:spcPct val="15000"/>
            </a:spcAft>
            <a:buChar char="•"/>
          </a:pPr>
          <a:r>
            <a:rPr lang="en-US" sz="2000" kern="1200" dirty="0">
              <a:latin typeface="Segoe UI" panose="020B0502040204020203" pitchFamily="34" charset="0"/>
            </a:rPr>
            <a:t>Read activity during backups; other activity varies depending on query activity and buffer pool size</a:t>
          </a:r>
        </a:p>
        <a:p>
          <a:pPr marL="457200" lvl="2" indent="-228600" algn="l" defTabSz="889000">
            <a:lnSpc>
              <a:spcPct val="90000"/>
            </a:lnSpc>
            <a:spcBef>
              <a:spcPct val="0"/>
            </a:spcBef>
            <a:spcAft>
              <a:spcPct val="15000"/>
            </a:spcAft>
            <a:buChar char="•"/>
          </a:pPr>
          <a:r>
            <a:rPr lang="en-US" sz="2000" kern="1200" dirty="0">
              <a:latin typeface="Segoe UI" panose="020B0502040204020203" pitchFamily="34" charset="0"/>
            </a:rPr>
            <a:t>Write activity during checkpoints, recovery, and lazy writes</a:t>
          </a:r>
        </a:p>
      </dsp:txBody>
      <dsp:txXfrm>
        <a:off x="0" y="251533"/>
        <a:ext cx="10880726" cy="2520000"/>
      </dsp:txXfrm>
    </dsp:sp>
    <dsp:sp modelId="{DC07B57F-D261-4639-A828-A8C83A449FA6}">
      <dsp:nvSpPr>
        <dsp:cNvPr id="0" name=""/>
        <dsp:cNvSpPr/>
      </dsp:nvSpPr>
      <dsp:spPr>
        <a:xfrm>
          <a:off x="544036" y="15373"/>
          <a:ext cx="7616508" cy="4723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244600">
            <a:lnSpc>
              <a:spcPct val="90000"/>
            </a:lnSpc>
            <a:spcBef>
              <a:spcPct val="0"/>
            </a:spcBef>
            <a:spcAft>
              <a:spcPct val="35000"/>
            </a:spcAft>
            <a:buNone/>
          </a:pPr>
          <a:r>
            <a:rPr lang="en-US" sz="2800" kern="1200" dirty="0">
              <a:latin typeface="Segoe UI" panose="020B0502040204020203" pitchFamily="34" charset="0"/>
            </a:rPr>
            <a:t>Data Files</a:t>
          </a:r>
        </a:p>
      </dsp:txBody>
      <dsp:txXfrm>
        <a:off x="567093" y="38430"/>
        <a:ext cx="7570394" cy="426206"/>
      </dsp:txXfrm>
    </dsp:sp>
    <dsp:sp modelId="{A5356A9C-92F2-42D9-B685-432A2513A393}">
      <dsp:nvSpPr>
        <dsp:cNvPr id="0" name=""/>
        <dsp:cNvSpPr/>
      </dsp:nvSpPr>
      <dsp:spPr>
        <a:xfrm>
          <a:off x="0" y="3094093"/>
          <a:ext cx="10880726" cy="2520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33248"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One* .ldf file per database</a:t>
          </a:r>
          <a:endParaRPr lang="en-US" sz="2000" kern="1200" dirty="0">
            <a:latin typeface="Segoe UI" panose="020B0502040204020203" pitchFamily="34" charset="0"/>
          </a:endParaRPr>
        </a:p>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Sequential reads and writes</a:t>
          </a:r>
          <a:endParaRPr lang="en-US" sz="2000" kern="1200" dirty="0">
            <a:latin typeface="Segoe UI" panose="020B0502040204020203" pitchFamily="34" charset="0"/>
          </a:endParaRPr>
        </a:p>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Write activity during the log buffer flush operations</a:t>
          </a:r>
          <a:endParaRPr lang="en-US" sz="2000" kern="1200" dirty="0">
            <a:latin typeface="Segoe UI" panose="020B0502040204020203" pitchFamily="34" charset="0"/>
          </a:endParaRPr>
        </a:p>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Read activity during checkpoints, backups, and recovery</a:t>
          </a:r>
          <a:endParaRPr lang="en-US" sz="2000" kern="1200" dirty="0">
            <a:latin typeface="Segoe UI" panose="020B0502040204020203" pitchFamily="34" charset="0"/>
          </a:endParaRPr>
        </a:p>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Features such as database mirroring and replication will increase read and write activity</a:t>
          </a:r>
          <a:endParaRPr lang="en-US" sz="2000" kern="1200" dirty="0">
            <a:latin typeface="Segoe UI" panose="020B0502040204020203" pitchFamily="34" charset="0"/>
          </a:endParaRPr>
        </a:p>
      </dsp:txBody>
      <dsp:txXfrm>
        <a:off x="0" y="3094093"/>
        <a:ext cx="10880726" cy="2520000"/>
      </dsp:txXfrm>
    </dsp:sp>
    <dsp:sp modelId="{E69402FC-471B-4A89-B10E-D4C4F3060E8A}">
      <dsp:nvSpPr>
        <dsp:cNvPr id="0" name=""/>
        <dsp:cNvSpPr/>
      </dsp:nvSpPr>
      <dsp:spPr>
        <a:xfrm>
          <a:off x="544036" y="2857933"/>
          <a:ext cx="7616508" cy="4723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244600">
            <a:lnSpc>
              <a:spcPct val="90000"/>
            </a:lnSpc>
            <a:spcBef>
              <a:spcPct val="0"/>
            </a:spcBef>
            <a:spcAft>
              <a:spcPct val="35000"/>
            </a:spcAft>
            <a:buNone/>
          </a:pPr>
          <a:r>
            <a:rPr lang="en-US" sz="2800" kern="1200" baseline="0" dirty="0">
              <a:latin typeface="Segoe UI" panose="020B0502040204020203" pitchFamily="34" charset="0"/>
            </a:rPr>
            <a:t>Log Files</a:t>
          </a:r>
          <a:endParaRPr lang="en-US" sz="2800" kern="1200" dirty="0">
            <a:latin typeface="Segoe UI" panose="020B0502040204020203" pitchFamily="34" charset="0"/>
          </a:endParaRPr>
        </a:p>
      </dsp:txBody>
      <dsp:txXfrm>
        <a:off x="567093" y="2880990"/>
        <a:ext cx="7570394" cy="42620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3D046F-8B4E-4968-BA21-B8542A4D65D5}">
      <dsp:nvSpPr>
        <dsp:cNvPr id="0" name=""/>
        <dsp:cNvSpPr/>
      </dsp:nvSpPr>
      <dsp:spPr>
        <a:xfrm>
          <a:off x="0" y="26404"/>
          <a:ext cx="10880726"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baseline="0" dirty="0"/>
            <a:t>SQL Server will flush the log buffer to the log file</a:t>
          </a:r>
          <a:endParaRPr lang="en-US" sz="3200" kern="1200" dirty="0"/>
        </a:p>
      </dsp:txBody>
      <dsp:txXfrm>
        <a:off x="59399" y="85803"/>
        <a:ext cx="10761928" cy="1098002"/>
      </dsp:txXfrm>
    </dsp:sp>
    <dsp:sp modelId="{90C5942A-676D-4C7E-971D-5ADE5985D74D}">
      <dsp:nvSpPr>
        <dsp:cNvPr id="0" name=""/>
        <dsp:cNvSpPr/>
      </dsp:nvSpPr>
      <dsp:spPr>
        <a:xfrm>
          <a:off x="0" y="1251952"/>
          <a:ext cx="10880726" cy="17827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SQL Server gets a commit request of a transaction that changes data.</a:t>
          </a:r>
          <a:endParaRPr lang="en-US" sz="2400" kern="1200" dirty="0"/>
        </a:p>
        <a:p>
          <a:pPr marL="228600" lvl="1" indent="-228600" algn="l" defTabSz="1066800">
            <a:lnSpc>
              <a:spcPct val="90000"/>
            </a:lnSpc>
            <a:spcBef>
              <a:spcPct val="0"/>
            </a:spcBef>
            <a:spcAft>
              <a:spcPct val="20000"/>
            </a:spcAft>
            <a:buChar char="•"/>
          </a:pPr>
          <a:r>
            <a:rPr lang="en-US" sz="2400" kern="1200" baseline="0" dirty="0"/>
            <a:t>The log buffer fills up. (Max size 60kb.)</a:t>
          </a:r>
          <a:endParaRPr lang="en-US" sz="2400" kern="1200" dirty="0"/>
        </a:p>
        <a:p>
          <a:pPr marL="228600" lvl="1" indent="-228600" algn="l" defTabSz="1066800">
            <a:lnSpc>
              <a:spcPct val="90000"/>
            </a:lnSpc>
            <a:spcBef>
              <a:spcPct val="0"/>
            </a:spcBef>
            <a:spcAft>
              <a:spcPct val="20000"/>
            </a:spcAft>
            <a:buChar char="•"/>
          </a:pPr>
          <a:r>
            <a:rPr lang="en-US" sz="2400" kern="1200" baseline="0" dirty="0"/>
            <a:t>SQL Server needs to harden dirty data pages (checkpoints)</a:t>
          </a:r>
          <a:endParaRPr lang="en-US" sz="2400" kern="1200" dirty="0"/>
        </a:p>
        <a:p>
          <a:pPr marL="228600" lvl="1" indent="-228600" algn="l" defTabSz="1066800">
            <a:lnSpc>
              <a:spcPct val="90000"/>
            </a:lnSpc>
            <a:spcBef>
              <a:spcPct val="0"/>
            </a:spcBef>
            <a:spcAft>
              <a:spcPct val="20000"/>
            </a:spcAft>
            <a:buChar char="•"/>
          </a:pPr>
          <a:r>
            <a:rPr lang="en-US" sz="2400" kern="1200" baseline="0" dirty="0"/>
            <a:t>Manually request a log buffer flush using the </a:t>
          </a:r>
          <a:r>
            <a:rPr lang="en-US" sz="2400" kern="1200" baseline="0" dirty="0" err="1"/>
            <a:t>sys.sp_flush_log</a:t>
          </a:r>
          <a:r>
            <a:rPr lang="en-US" sz="2400" kern="1200" baseline="0" dirty="0"/>
            <a:t> procedure</a:t>
          </a:r>
          <a:endParaRPr lang="en-US" sz="2400" kern="1200" dirty="0"/>
        </a:p>
      </dsp:txBody>
      <dsp:txXfrm>
        <a:off x="0" y="1251952"/>
        <a:ext cx="10880726" cy="1782787"/>
      </dsp:txXfrm>
    </dsp:sp>
    <dsp:sp modelId="{D145050A-2D0A-48DE-B8EB-0A9036A8EE26}">
      <dsp:nvSpPr>
        <dsp:cNvPr id="0" name=""/>
        <dsp:cNvSpPr/>
      </dsp:nvSpPr>
      <dsp:spPr>
        <a:xfrm>
          <a:off x="0" y="3061505"/>
          <a:ext cx="10880726"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baseline="0" dirty="0"/>
            <a:t>Log buffer flushing results in a WRITELOG wait type.</a:t>
          </a:r>
          <a:endParaRPr lang="en-US" sz="3200" kern="1200" dirty="0"/>
        </a:p>
      </dsp:txBody>
      <dsp:txXfrm>
        <a:off x="59399" y="3120904"/>
        <a:ext cx="10761928" cy="1098002"/>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E66C88-09DA-40B7-823E-7E7CC6D7DE8E}">
      <dsp:nvSpPr>
        <dsp:cNvPr id="0" name=""/>
        <dsp:cNvSpPr/>
      </dsp:nvSpPr>
      <dsp:spPr>
        <a:xfrm>
          <a:off x="0" y="14253"/>
          <a:ext cx="6206049"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Stores 8 kilobytes (KB) pages of data to avoid repeated disk I/O.</a:t>
          </a:r>
          <a:endParaRPr lang="en-US" sz="2400" kern="1200" dirty="0"/>
        </a:p>
      </dsp:txBody>
      <dsp:txXfrm>
        <a:off x="59399" y="73652"/>
        <a:ext cx="6087251" cy="1098002"/>
      </dsp:txXfrm>
    </dsp:sp>
    <dsp:sp modelId="{243A05DC-3C79-4F85-8091-E770D7B8BE1C}">
      <dsp:nvSpPr>
        <dsp:cNvPr id="0" name=""/>
        <dsp:cNvSpPr/>
      </dsp:nvSpPr>
      <dsp:spPr>
        <a:xfrm>
          <a:off x="0" y="1231053"/>
          <a:ext cx="6206049"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7042"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a:t>Pages held in the buffer until the space is needed by something else.</a:t>
          </a:r>
          <a:endParaRPr lang="en-US" sz="2400" kern="1200" dirty="0"/>
        </a:p>
      </dsp:txBody>
      <dsp:txXfrm>
        <a:off x="0" y="1231053"/>
        <a:ext cx="6206049" cy="1076400"/>
      </dsp:txXfrm>
    </dsp:sp>
    <dsp:sp modelId="{8A8E48AC-E044-4373-91C2-A5EBBB4E8D5D}">
      <dsp:nvSpPr>
        <dsp:cNvPr id="0" name=""/>
        <dsp:cNvSpPr/>
      </dsp:nvSpPr>
      <dsp:spPr>
        <a:xfrm>
          <a:off x="0" y="2307453"/>
          <a:ext cx="6206049"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Lazy Writer searches for eligible buffers.</a:t>
          </a:r>
        </a:p>
      </dsp:txBody>
      <dsp:txXfrm>
        <a:off x="59399" y="2366852"/>
        <a:ext cx="6087251" cy="1098002"/>
      </dsp:txXfrm>
    </dsp:sp>
    <dsp:sp modelId="{D9796843-2685-4002-815D-6B4869E1BB94}">
      <dsp:nvSpPr>
        <dsp:cNvPr id="0" name=""/>
        <dsp:cNvSpPr/>
      </dsp:nvSpPr>
      <dsp:spPr>
        <a:xfrm>
          <a:off x="0" y="3524253"/>
          <a:ext cx="6206049" cy="1614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7042"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t>If the buffer is dirty, an asynchronous write (lazy write) is posted so that the buffer can later be freed.</a:t>
          </a:r>
        </a:p>
        <a:p>
          <a:pPr marL="228600" lvl="1" indent="-228600" algn="l" defTabSz="1066800">
            <a:lnSpc>
              <a:spcPct val="90000"/>
            </a:lnSpc>
            <a:spcBef>
              <a:spcPct val="0"/>
            </a:spcBef>
            <a:spcAft>
              <a:spcPct val="20000"/>
            </a:spcAft>
            <a:buChar char="•"/>
          </a:pPr>
          <a:r>
            <a:rPr lang="en-US" sz="2400" kern="1200" dirty="0"/>
            <a:t>If the buffer is not dirty, it is freed.</a:t>
          </a:r>
        </a:p>
      </dsp:txBody>
      <dsp:txXfrm>
        <a:off x="0" y="3524253"/>
        <a:ext cx="6206049" cy="161460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F50DC7-A385-4C3D-85E8-5A190CB72709}">
      <dsp:nvSpPr>
        <dsp:cNvPr id="0" name=""/>
        <dsp:cNvSpPr/>
      </dsp:nvSpPr>
      <dsp:spPr>
        <a:xfrm>
          <a:off x="6184" y="859045"/>
          <a:ext cx="1718203" cy="1718203"/>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CPU Time (RUNNING)</a:t>
          </a:r>
          <a:endParaRPr lang="pt-PT" sz="1500" kern="1200">
            <a:latin typeface="Segoe UI Light" panose="020B0502040204020203" pitchFamily="34" charset="0"/>
            <a:cs typeface="Segoe UI Light" panose="020B0502040204020203" pitchFamily="34" charset="0"/>
          </a:endParaRPr>
        </a:p>
      </dsp:txBody>
      <dsp:txXfrm>
        <a:off x="257809" y="1110670"/>
        <a:ext cx="1214953" cy="1214953"/>
      </dsp:txXfrm>
    </dsp:sp>
    <dsp:sp modelId="{6673E2C0-687C-4813-9CDF-C1D7AB877466}">
      <dsp:nvSpPr>
        <dsp:cNvPr id="0" name=""/>
        <dsp:cNvSpPr/>
      </dsp:nvSpPr>
      <dsp:spPr>
        <a:xfrm>
          <a:off x="1863906" y="1219868"/>
          <a:ext cx="996558" cy="996558"/>
        </a:xfrm>
        <a:prstGeom prst="mathPlus">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pt-PT" sz="1200" kern="1200">
            <a:latin typeface="Segoe UI Light" panose="020B0502040204020203" pitchFamily="34" charset="0"/>
            <a:cs typeface="Segoe UI Light" panose="020B0502040204020203" pitchFamily="34" charset="0"/>
          </a:endParaRPr>
        </a:p>
      </dsp:txBody>
      <dsp:txXfrm>
        <a:off x="1996000" y="1600952"/>
        <a:ext cx="732370" cy="234390"/>
      </dsp:txXfrm>
    </dsp:sp>
    <dsp:sp modelId="{10CBBA21-79EB-41F6-B412-F391EAA0507A}">
      <dsp:nvSpPr>
        <dsp:cNvPr id="0" name=""/>
        <dsp:cNvSpPr/>
      </dsp:nvSpPr>
      <dsp:spPr>
        <a:xfrm>
          <a:off x="2999982" y="859045"/>
          <a:ext cx="1718203" cy="1718203"/>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Signal Wait Time (RUNNABLE)</a:t>
          </a:r>
          <a:endParaRPr lang="pt-PT" sz="1500" kern="1200">
            <a:latin typeface="Segoe UI Light" panose="020B0502040204020203" pitchFamily="34" charset="0"/>
            <a:cs typeface="Segoe UI Light" panose="020B0502040204020203" pitchFamily="34" charset="0"/>
          </a:endParaRPr>
        </a:p>
      </dsp:txBody>
      <dsp:txXfrm>
        <a:off x="3251607" y="1110670"/>
        <a:ext cx="1214953" cy="1214953"/>
      </dsp:txXfrm>
    </dsp:sp>
    <dsp:sp modelId="{8B0DDA86-1B95-48DA-B6BA-3D7A249A161A}">
      <dsp:nvSpPr>
        <dsp:cNvPr id="0" name=""/>
        <dsp:cNvSpPr/>
      </dsp:nvSpPr>
      <dsp:spPr>
        <a:xfrm>
          <a:off x="4857703" y="1219868"/>
          <a:ext cx="996558" cy="996558"/>
        </a:xfrm>
        <a:prstGeom prst="mathPlus">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989797" y="1600952"/>
        <a:ext cx="732370" cy="234390"/>
      </dsp:txXfrm>
    </dsp:sp>
    <dsp:sp modelId="{8654DA70-295E-47B4-95D9-098230C9A89A}">
      <dsp:nvSpPr>
        <dsp:cNvPr id="0" name=""/>
        <dsp:cNvSpPr/>
      </dsp:nvSpPr>
      <dsp:spPr>
        <a:xfrm>
          <a:off x="5993780" y="859045"/>
          <a:ext cx="1718203" cy="1718203"/>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Resource Wait Time (SUSPENDED)</a:t>
          </a:r>
          <a:endParaRPr lang="pt-PT" sz="1500" kern="1200">
            <a:latin typeface="Segoe UI Light" panose="020B0502040204020203" pitchFamily="34" charset="0"/>
            <a:cs typeface="Segoe UI Light" panose="020B0502040204020203" pitchFamily="34" charset="0"/>
          </a:endParaRPr>
        </a:p>
      </dsp:txBody>
      <dsp:txXfrm>
        <a:off x="6245405" y="1110670"/>
        <a:ext cx="1214953" cy="1214953"/>
      </dsp:txXfrm>
    </dsp:sp>
    <dsp:sp modelId="{46BABBF9-D006-443D-8111-5C6F404BF7AA}">
      <dsp:nvSpPr>
        <dsp:cNvPr id="0" name=""/>
        <dsp:cNvSpPr/>
      </dsp:nvSpPr>
      <dsp:spPr>
        <a:xfrm>
          <a:off x="7851501" y="1219868"/>
          <a:ext cx="996558" cy="996558"/>
        </a:xfrm>
        <a:prstGeom prst="mathEqual">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7983595" y="1425159"/>
        <a:ext cx="732370" cy="585976"/>
      </dsp:txXfrm>
    </dsp:sp>
    <dsp:sp modelId="{1E63E032-A34B-40F9-9996-7094989E1D20}">
      <dsp:nvSpPr>
        <dsp:cNvPr id="0" name=""/>
        <dsp:cNvSpPr/>
      </dsp:nvSpPr>
      <dsp:spPr>
        <a:xfrm>
          <a:off x="8987577" y="859045"/>
          <a:ext cx="1718203" cy="1718203"/>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pt-PT" sz="1500" kern="1200">
              <a:latin typeface="Segoe UI Light" panose="020B0502040204020203" pitchFamily="34" charset="0"/>
              <a:cs typeface="Segoe UI Light" panose="020B0502040204020203" pitchFamily="34" charset="0"/>
            </a:rPr>
            <a:t>Total Query Response Time</a:t>
          </a:r>
        </a:p>
      </dsp:txBody>
      <dsp:txXfrm>
        <a:off x="9239202" y="1110670"/>
        <a:ext cx="1214953" cy="1214953"/>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A805E4-2107-49A3-BD77-3C70BA121985}">
      <dsp:nvSpPr>
        <dsp:cNvPr id="0" name=""/>
        <dsp:cNvSpPr/>
      </dsp:nvSpPr>
      <dsp:spPr>
        <a:xfrm>
          <a:off x="0" y="79288"/>
          <a:ext cx="9906000" cy="9090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b="1" kern="1200" dirty="0"/>
            <a:t>Automatic</a:t>
          </a:r>
          <a:r>
            <a:rPr lang="en-US" sz="2100" kern="1200" dirty="0"/>
            <a:t> (default) – Database engine issues checkpoints automatically based on the server level “recovery interval” configuration option</a:t>
          </a:r>
        </a:p>
      </dsp:txBody>
      <dsp:txXfrm>
        <a:off x="44378" y="123666"/>
        <a:ext cx="9817244" cy="820333"/>
      </dsp:txXfrm>
    </dsp:sp>
    <dsp:sp modelId="{95DD3C3F-6913-4DF8-BA60-D5B77EE51AD0}">
      <dsp:nvSpPr>
        <dsp:cNvPr id="0" name=""/>
        <dsp:cNvSpPr/>
      </dsp:nvSpPr>
      <dsp:spPr>
        <a:xfrm>
          <a:off x="0" y="1048858"/>
          <a:ext cx="9906000" cy="9090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b="1" kern="1200" dirty="0"/>
            <a:t>Indirect</a:t>
          </a:r>
          <a:r>
            <a:rPr lang="en-US" sz="2100" kern="1200" dirty="0"/>
            <a:t> (new in SQL Server 2012) – Database engine issues checkpoints automatically based on the database level TARGET_RECOVERY_TIME</a:t>
          </a:r>
        </a:p>
      </dsp:txBody>
      <dsp:txXfrm>
        <a:off x="44378" y="1093236"/>
        <a:ext cx="9817244" cy="820333"/>
      </dsp:txXfrm>
    </dsp:sp>
    <dsp:sp modelId="{AE6B6D19-C792-4D73-A9A4-722404BFC6F5}">
      <dsp:nvSpPr>
        <dsp:cNvPr id="0" name=""/>
        <dsp:cNvSpPr/>
      </dsp:nvSpPr>
      <dsp:spPr>
        <a:xfrm>
          <a:off x="0" y="1957948"/>
          <a:ext cx="9906000" cy="347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4516" tIns="26670" rIns="149352" bIns="2667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1957948"/>
        <a:ext cx="9906000" cy="347760"/>
      </dsp:txXfrm>
    </dsp:sp>
    <dsp:sp modelId="{191229E1-A669-4C80-929D-90658F54B41C}">
      <dsp:nvSpPr>
        <dsp:cNvPr id="0" name=""/>
        <dsp:cNvSpPr/>
      </dsp:nvSpPr>
      <dsp:spPr>
        <a:xfrm>
          <a:off x="0" y="2305707"/>
          <a:ext cx="9906000" cy="9090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b="1" kern="1200" dirty="0"/>
            <a:t>Manual</a:t>
          </a:r>
          <a:r>
            <a:rPr lang="en-US" sz="2100" kern="1200" dirty="0"/>
            <a:t> – Issued in the current database for your connection when you execute the T-SQL CHECKPOINT command</a:t>
          </a:r>
        </a:p>
      </dsp:txBody>
      <dsp:txXfrm>
        <a:off x="44378" y="2350085"/>
        <a:ext cx="9817244" cy="820333"/>
      </dsp:txXfrm>
    </dsp:sp>
    <dsp:sp modelId="{9FB0B889-7813-4D35-8556-384C3E45CE9B}">
      <dsp:nvSpPr>
        <dsp:cNvPr id="0" name=""/>
        <dsp:cNvSpPr/>
      </dsp:nvSpPr>
      <dsp:spPr>
        <a:xfrm>
          <a:off x="0" y="3275278"/>
          <a:ext cx="9906000" cy="9090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b="1" kern="1200" dirty="0"/>
            <a:t>Internal</a:t>
          </a:r>
          <a:r>
            <a:rPr lang="en-US" sz="2100" kern="1200" dirty="0"/>
            <a:t> – Issued by various server operations</a:t>
          </a:r>
        </a:p>
      </dsp:txBody>
      <dsp:txXfrm>
        <a:off x="44378" y="3319656"/>
        <a:ext cx="9817244" cy="82033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D63552-03A9-4B58-92DC-A92FAE514C1F}">
      <dsp:nvSpPr>
        <dsp:cNvPr id="0" name=""/>
        <dsp:cNvSpPr/>
      </dsp:nvSpPr>
      <dsp:spPr>
        <a:xfrm rot="5400000">
          <a:off x="6934814" y="-2899320"/>
          <a:ext cx="928159" cy="696366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Assigns CPUs for SQL Server use</a:t>
          </a:r>
          <a:endParaRPr lang="en-US" sz="1500" kern="1200"/>
        </a:p>
        <a:p>
          <a:pPr marL="114300" lvl="1" indent="-114300" algn="l" defTabSz="666750">
            <a:lnSpc>
              <a:spcPct val="90000"/>
            </a:lnSpc>
            <a:spcBef>
              <a:spcPct val="0"/>
            </a:spcBef>
            <a:spcAft>
              <a:spcPct val="15000"/>
            </a:spcAft>
            <a:buChar char="•"/>
          </a:pPr>
          <a:r>
            <a:rPr lang="en-US" sz="1500" kern="1200" baseline="0"/>
            <a:t>Set via sp_configure or Alter Server Configuration</a:t>
          </a:r>
          <a:endParaRPr lang="en-US" sz="1500" kern="1200"/>
        </a:p>
        <a:p>
          <a:pPr marL="114300" lvl="1" indent="-114300" algn="l" defTabSz="666750">
            <a:lnSpc>
              <a:spcPct val="90000"/>
            </a:lnSpc>
            <a:spcBef>
              <a:spcPct val="0"/>
            </a:spcBef>
            <a:spcAft>
              <a:spcPct val="15000"/>
            </a:spcAft>
            <a:buChar char="•"/>
          </a:pPr>
          <a:r>
            <a:rPr lang="en-US" sz="1500" kern="1200" dirty="0"/>
            <a:t>Only required in specific scenarios</a:t>
          </a:r>
        </a:p>
      </dsp:txBody>
      <dsp:txXfrm rot="-5400000">
        <a:off x="3917062" y="163741"/>
        <a:ext cx="6918355" cy="837541"/>
      </dsp:txXfrm>
    </dsp:sp>
    <dsp:sp modelId="{14EDB1D3-1B6D-42F3-A18A-8F1B7C1B8D4F}">
      <dsp:nvSpPr>
        <dsp:cNvPr id="0" name=""/>
        <dsp:cNvSpPr/>
      </dsp:nvSpPr>
      <dsp:spPr>
        <a:xfrm>
          <a:off x="0" y="2412"/>
          <a:ext cx="3917061" cy="116019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baseline="0"/>
            <a:t>Affinity Mask</a:t>
          </a:r>
          <a:endParaRPr lang="en-US" sz="2800" kern="1200"/>
        </a:p>
      </dsp:txBody>
      <dsp:txXfrm>
        <a:off x="56636" y="59048"/>
        <a:ext cx="3803789" cy="1046926"/>
      </dsp:txXfrm>
    </dsp:sp>
    <dsp:sp modelId="{E284ED2E-BE76-443D-9061-D1D23D755A4E}">
      <dsp:nvSpPr>
        <dsp:cNvPr id="0" name=""/>
        <dsp:cNvSpPr/>
      </dsp:nvSpPr>
      <dsp:spPr>
        <a:xfrm rot="5400000">
          <a:off x="6934814" y="-1681111"/>
          <a:ext cx="928159" cy="696366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b="0" kern="1200" dirty="0">
              <a:latin typeface="+mn-lt"/>
            </a:rPr>
            <a:t>Maximum number of processors that are used for the execution of a query in a parallel plan. This option determines the number of threads that are used for the query plan operators that perform the work in parallel. </a:t>
          </a:r>
          <a:endParaRPr lang="en-US" sz="1500" kern="1200" dirty="0"/>
        </a:p>
      </dsp:txBody>
      <dsp:txXfrm rot="-5400000">
        <a:off x="3917062" y="1381950"/>
        <a:ext cx="6918355" cy="837541"/>
      </dsp:txXfrm>
    </dsp:sp>
    <dsp:sp modelId="{1AF58E77-9F49-4F5F-B653-8F36EA006238}">
      <dsp:nvSpPr>
        <dsp:cNvPr id="0" name=""/>
        <dsp:cNvSpPr/>
      </dsp:nvSpPr>
      <dsp:spPr>
        <a:xfrm>
          <a:off x="0" y="1220621"/>
          <a:ext cx="3917061" cy="116019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Max Degree of Parallelism (MAXDOP)</a:t>
          </a:r>
        </a:p>
      </dsp:txBody>
      <dsp:txXfrm>
        <a:off x="56636" y="1277257"/>
        <a:ext cx="3803789" cy="1046926"/>
      </dsp:txXfrm>
    </dsp:sp>
    <dsp:sp modelId="{F3B52152-8BE4-43A5-9164-5A2FE59E7C12}">
      <dsp:nvSpPr>
        <dsp:cNvPr id="0" name=""/>
        <dsp:cNvSpPr/>
      </dsp:nvSpPr>
      <dsp:spPr>
        <a:xfrm rot="5400000">
          <a:off x="6934814" y="-462902"/>
          <a:ext cx="928159" cy="696366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Only queries with a cost that is higher than this value will be considered for parallelism</a:t>
          </a:r>
          <a:endParaRPr lang="en-US" sz="1500" kern="1200"/>
        </a:p>
        <a:p>
          <a:pPr marL="114300" lvl="1" indent="-114300" algn="l" defTabSz="666750">
            <a:lnSpc>
              <a:spcPct val="90000"/>
            </a:lnSpc>
            <a:spcBef>
              <a:spcPct val="0"/>
            </a:spcBef>
            <a:spcAft>
              <a:spcPct val="15000"/>
            </a:spcAft>
            <a:buChar char="•"/>
          </a:pPr>
          <a:r>
            <a:rPr lang="en-US" sz="1500" kern="1200"/>
            <a:t>Only required when dealing with excessive parallelism</a:t>
          </a:r>
        </a:p>
      </dsp:txBody>
      <dsp:txXfrm rot="-5400000">
        <a:off x="3917062" y="2600159"/>
        <a:ext cx="6918355" cy="837541"/>
      </dsp:txXfrm>
    </dsp:sp>
    <dsp:sp modelId="{A7E91A73-299E-4C90-8883-28F8F8CA2E4D}">
      <dsp:nvSpPr>
        <dsp:cNvPr id="0" name=""/>
        <dsp:cNvSpPr/>
      </dsp:nvSpPr>
      <dsp:spPr>
        <a:xfrm>
          <a:off x="0" y="2438829"/>
          <a:ext cx="3917061" cy="116019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baseline="0"/>
            <a:t>Cost Threshold for Parallelism</a:t>
          </a:r>
          <a:endParaRPr lang="en-US" sz="2800" kern="1200"/>
        </a:p>
      </dsp:txBody>
      <dsp:txXfrm>
        <a:off x="56636" y="2495465"/>
        <a:ext cx="3803789" cy="1046926"/>
      </dsp:txXfrm>
    </dsp:sp>
    <dsp:sp modelId="{E703C97D-3FA6-4B02-B5DB-D8F9896B4E74}">
      <dsp:nvSpPr>
        <dsp:cNvPr id="0" name=""/>
        <dsp:cNvSpPr/>
      </dsp:nvSpPr>
      <dsp:spPr>
        <a:xfrm rot="5400000">
          <a:off x="6934814" y="755306"/>
          <a:ext cx="928159" cy="696366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Number of threads SQL Server can allocate</a:t>
          </a:r>
          <a:endParaRPr lang="en-US" sz="1500" kern="1200"/>
        </a:p>
        <a:p>
          <a:pPr marL="114300" lvl="1" indent="-114300" algn="l" defTabSz="666750">
            <a:lnSpc>
              <a:spcPct val="90000"/>
            </a:lnSpc>
            <a:spcBef>
              <a:spcPct val="0"/>
            </a:spcBef>
            <a:spcAft>
              <a:spcPct val="15000"/>
            </a:spcAft>
            <a:buChar char="•"/>
          </a:pPr>
          <a:r>
            <a:rPr lang="en-US" sz="1500" kern="1200" baseline="0"/>
            <a:t>Recommended value is 0. SQL Server will dynamically set the Max based on CPUs and CPU architecture</a:t>
          </a:r>
          <a:endParaRPr lang="en-US" sz="1500" kern="1200"/>
        </a:p>
      </dsp:txBody>
      <dsp:txXfrm rot="-5400000">
        <a:off x="3917062" y="3818368"/>
        <a:ext cx="6918355" cy="837541"/>
      </dsp:txXfrm>
    </dsp:sp>
    <dsp:sp modelId="{8E673850-EA23-40B8-AD3D-D7522D99D648}">
      <dsp:nvSpPr>
        <dsp:cNvPr id="0" name=""/>
        <dsp:cNvSpPr/>
      </dsp:nvSpPr>
      <dsp:spPr>
        <a:xfrm>
          <a:off x="0" y="3657038"/>
          <a:ext cx="3917061" cy="116019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baseline="0"/>
            <a:t>Max Worker Threads</a:t>
          </a:r>
          <a:endParaRPr lang="en-US" sz="2800" kern="1200"/>
        </a:p>
      </dsp:txBody>
      <dsp:txXfrm>
        <a:off x="56636" y="3713674"/>
        <a:ext cx="3803789" cy="104692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9C90E9-1622-49BB-A182-28FAD8B80E3C}">
      <dsp:nvSpPr>
        <dsp:cNvPr id="0" name=""/>
        <dsp:cNvSpPr/>
      </dsp:nvSpPr>
      <dsp:spPr>
        <a:xfrm>
          <a:off x="0" y="5270"/>
          <a:ext cx="11381232" cy="7207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baseline="0"/>
            <a:t>Batch</a:t>
          </a:r>
          <a:endParaRPr lang="en-US" sz="2800" kern="1200"/>
        </a:p>
      </dsp:txBody>
      <dsp:txXfrm>
        <a:off x="35183" y="40453"/>
        <a:ext cx="11310866" cy="650354"/>
      </dsp:txXfrm>
    </dsp:sp>
    <dsp:sp modelId="{C4D172BD-3A27-46B8-886B-891BF3BE8CB8}">
      <dsp:nvSpPr>
        <dsp:cNvPr id="0" name=""/>
        <dsp:cNvSpPr/>
      </dsp:nvSpPr>
      <dsp:spPr>
        <a:xfrm>
          <a:off x="0" y="725990"/>
          <a:ext cx="11381232" cy="1159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354"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baseline="0"/>
            <a:t>A statement or set of statements submitted to SQL Server by the user (a query), also referred to as a request</a:t>
          </a:r>
          <a:endParaRPr lang="en-US" sz="2200" kern="1200"/>
        </a:p>
        <a:p>
          <a:pPr marL="228600" lvl="1" indent="-228600" algn="l" defTabSz="977900">
            <a:lnSpc>
              <a:spcPct val="90000"/>
            </a:lnSpc>
            <a:spcBef>
              <a:spcPct val="0"/>
            </a:spcBef>
            <a:spcAft>
              <a:spcPct val="20000"/>
            </a:spcAft>
            <a:buChar char="•"/>
          </a:pPr>
          <a:r>
            <a:rPr lang="en-US" sz="2200" kern="1200" baseline="0"/>
            <a:t>Monitor with sys.dm_exec_requests </a:t>
          </a:r>
          <a:endParaRPr lang="en-US" sz="2200" kern="1200" dirty="0"/>
        </a:p>
      </dsp:txBody>
      <dsp:txXfrm>
        <a:off x="0" y="725990"/>
        <a:ext cx="11381232" cy="1159200"/>
      </dsp:txXfrm>
    </dsp:sp>
    <dsp:sp modelId="{5DD6315D-A3AF-4A66-B6E1-1F576C5DD880}">
      <dsp:nvSpPr>
        <dsp:cNvPr id="0" name=""/>
        <dsp:cNvSpPr/>
      </dsp:nvSpPr>
      <dsp:spPr>
        <a:xfrm>
          <a:off x="0" y="1885190"/>
          <a:ext cx="11381232" cy="7207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baseline="0"/>
            <a:t>Task</a:t>
          </a:r>
          <a:endParaRPr lang="en-US" sz="2800" kern="1200"/>
        </a:p>
      </dsp:txBody>
      <dsp:txXfrm>
        <a:off x="35183" y="1920373"/>
        <a:ext cx="11310866" cy="650354"/>
      </dsp:txXfrm>
    </dsp:sp>
    <dsp:sp modelId="{49F8B814-6CBE-4CAF-B0B6-2B5768970CEB}">
      <dsp:nvSpPr>
        <dsp:cNvPr id="0" name=""/>
        <dsp:cNvSpPr/>
      </dsp:nvSpPr>
      <dsp:spPr>
        <a:xfrm>
          <a:off x="0" y="2605910"/>
          <a:ext cx="11381232" cy="8259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354"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baseline="0"/>
            <a:t>A batch will have one or more tasks (aligns with statements)</a:t>
          </a:r>
          <a:endParaRPr lang="en-US" sz="2200" kern="1200"/>
        </a:p>
        <a:p>
          <a:pPr marL="228600" lvl="1" indent="-228600" algn="l" defTabSz="977900">
            <a:lnSpc>
              <a:spcPct val="90000"/>
            </a:lnSpc>
            <a:spcBef>
              <a:spcPct val="0"/>
            </a:spcBef>
            <a:spcAft>
              <a:spcPct val="20000"/>
            </a:spcAft>
            <a:buChar char="•"/>
          </a:pPr>
          <a:r>
            <a:rPr lang="en-US" sz="2200" kern="1200" baseline="0" dirty="0"/>
            <a:t>Monitor with sys.dm_os_tasks</a:t>
          </a:r>
          <a:endParaRPr lang="en-US" sz="2200" kern="1200" dirty="0"/>
        </a:p>
      </dsp:txBody>
      <dsp:txXfrm>
        <a:off x="0" y="2605910"/>
        <a:ext cx="11381232" cy="825930"/>
      </dsp:txXfrm>
    </dsp:sp>
    <dsp:sp modelId="{CB7BEE8D-BC86-4209-BE73-55173F086263}">
      <dsp:nvSpPr>
        <dsp:cNvPr id="0" name=""/>
        <dsp:cNvSpPr/>
      </dsp:nvSpPr>
      <dsp:spPr>
        <a:xfrm>
          <a:off x="0" y="3431840"/>
          <a:ext cx="11381232" cy="7207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baseline="0"/>
            <a:t>Worker</a:t>
          </a:r>
          <a:r>
            <a:rPr lang="en-US" sz="2800" kern="1200" baseline="0"/>
            <a:t> </a:t>
          </a:r>
          <a:r>
            <a:rPr lang="en-US" sz="2800" b="1" kern="1200" baseline="0"/>
            <a:t>Thread</a:t>
          </a:r>
          <a:endParaRPr lang="en-US" sz="2800" kern="1200"/>
        </a:p>
      </dsp:txBody>
      <dsp:txXfrm>
        <a:off x="35183" y="3467023"/>
        <a:ext cx="11310866" cy="650354"/>
      </dsp:txXfrm>
    </dsp:sp>
    <dsp:sp modelId="{89DE0FF6-00AD-4E7B-A269-DE37D9E8D853}">
      <dsp:nvSpPr>
        <dsp:cNvPr id="0" name=""/>
        <dsp:cNvSpPr/>
      </dsp:nvSpPr>
      <dsp:spPr>
        <a:xfrm>
          <a:off x="0" y="4152560"/>
          <a:ext cx="11381232" cy="8259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354"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baseline="0" dirty="0"/>
            <a:t>Each task will be assigned to a single worker thread for the life of the task</a:t>
          </a:r>
          <a:endParaRPr lang="en-US" sz="2200" kern="1200" dirty="0"/>
        </a:p>
        <a:p>
          <a:pPr marL="228600" lvl="1" indent="-228600" algn="l" defTabSz="977900">
            <a:lnSpc>
              <a:spcPct val="90000"/>
            </a:lnSpc>
            <a:spcBef>
              <a:spcPct val="0"/>
            </a:spcBef>
            <a:spcAft>
              <a:spcPct val="20000"/>
            </a:spcAft>
            <a:buChar char="•"/>
          </a:pPr>
          <a:r>
            <a:rPr lang="en-US" sz="2200" kern="1200" baseline="0" dirty="0"/>
            <a:t>Monitor with </a:t>
          </a:r>
          <a:r>
            <a:rPr lang="en-US" sz="2200" kern="1200" baseline="0" dirty="0" err="1"/>
            <a:t>sys.dm_os_workers</a:t>
          </a:r>
          <a:endParaRPr lang="en-US" sz="2200" kern="1200" dirty="0"/>
        </a:p>
      </dsp:txBody>
      <dsp:txXfrm>
        <a:off x="0" y="4152560"/>
        <a:ext cx="11381232" cy="82593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8051FB-BC62-46CE-B64B-C20C26FF8733}">
      <dsp:nvSpPr>
        <dsp:cNvPr id="0" name=""/>
        <dsp:cNvSpPr/>
      </dsp:nvSpPr>
      <dsp:spPr>
        <a:xfrm>
          <a:off x="816787" y="0"/>
          <a:ext cx="9256928" cy="2199295"/>
        </a:xfrm>
        <a:prstGeom prst="rightArrow">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66A5F5-F633-42FA-B00A-F889EE627FCA}">
      <dsp:nvSpPr>
        <dsp:cNvPr id="0" name=""/>
        <dsp:cNvSpPr/>
      </dsp:nvSpPr>
      <dsp:spPr>
        <a:xfrm>
          <a:off x="3190" y="659788"/>
          <a:ext cx="1920727" cy="879718"/>
        </a:xfrm>
        <a:prstGeom prst="roundRect">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Connection</a:t>
          </a:r>
          <a:endParaRPr lang="pt-PT" sz="2000" kern="1200" dirty="0"/>
        </a:p>
      </dsp:txBody>
      <dsp:txXfrm>
        <a:off x="46134" y="702732"/>
        <a:ext cx="1834839" cy="793830"/>
      </dsp:txXfrm>
    </dsp:sp>
    <dsp:sp modelId="{EE391E63-3232-4590-967C-50A8A5755BEA}">
      <dsp:nvSpPr>
        <dsp:cNvPr id="0" name=""/>
        <dsp:cNvSpPr/>
      </dsp:nvSpPr>
      <dsp:spPr>
        <a:xfrm>
          <a:off x="2244039" y="659788"/>
          <a:ext cx="1920727" cy="879718"/>
        </a:xfrm>
        <a:prstGeom prst="roundRect">
          <a:avLst/>
        </a:prstGeom>
        <a:solidFill>
          <a:schemeClr val="accent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ession</a:t>
          </a:r>
          <a:endParaRPr lang="pt-PT" sz="2000" kern="1200"/>
        </a:p>
      </dsp:txBody>
      <dsp:txXfrm>
        <a:off x="2286983" y="702732"/>
        <a:ext cx="1834839" cy="793830"/>
      </dsp:txXfrm>
    </dsp:sp>
    <dsp:sp modelId="{0DA0DEB4-C604-4F8B-A20B-AA42D9467CA9}">
      <dsp:nvSpPr>
        <dsp:cNvPr id="0" name=""/>
        <dsp:cNvSpPr/>
      </dsp:nvSpPr>
      <dsp:spPr>
        <a:xfrm>
          <a:off x="4484888" y="659788"/>
          <a:ext cx="1920727" cy="879718"/>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Request</a:t>
          </a:r>
          <a:br>
            <a:rPr lang="en-US" sz="2000" kern="1200" dirty="0"/>
          </a:br>
          <a:r>
            <a:rPr lang="en-US" sz="2000" kern="1200" dirty="0"/>
            <a:t>(Batch)</a:t>
          </a:r>
          <a:endParaRPr lang="pt-PT" sz="2000" kern="1200" dirty="0"/>
        </a:p>
      </dsp:txBody>
      <dsp:txXfrm>
        <a:off x="4527832" y="702732"/>
        <a:ext cx="1834839" cy="793830"/>
      </dsp:txXfrm>
    </dsp:sp>
    <dsp:sp modelId="{AF20E609-485D-42B7-B807-368444824392}">
      <dsp:nvSpPr>
        <dsp:cNvPr id="0" name=""/>
        <dsp:cNvSpPr/>
      </dsp:nvSpPr>
      <dsp:spPr>
        <a:xfrm>
          <a:off x="6725737" y="659788"/>
          <a:ext cx="1920727" cy="879718"/>
        </a:xfrm>
        <a:prstGeom prst="roundRect">
          <a:avLst/>
        </a:prstGeom>
        <a:solidFill>
          <a:schemeClr val="accent1">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Task</a:t>
          </a:r>
          <a:endParaRPr lang="pt-PT" sz="2000" kern="1200" dirty="0"/>
        </a:p>
      </dsp:txBody>
      <dsp:txXfrm>
        <a:off x="6768681" y="702732"/>
        <a:ext cx="1834839" cy="793830"/>
      </dsp:txXfrm>
    </dsp:sp>
    <dsp:sp modelId="{A751D8E3-2DEF-45E7-8417-EFB716BD6F51}">
      <dsp:nvSpPr>
        <dsp:cNvPr id="0" name=""/>
        <dsp:cNvSpPr/>
      </dsp:nvSpPr>
      <dsp:spPr>
        <a:xfrm>
          <a:off x="8966585" y="659788"/>
          <a:ext cx="1920727" cy="879718"/>
        </a:xfrm>
        <a:prstGeom prst="roundRect">
          <a:avLst/>
        </a:prstGeom>
        <a:solidFill>
          <a:schemeClr val="accent4">
            <a:hueOff val="8532010"/>
            <a:satOff val="-30852"/>
            <a:lumOff val="301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Worker</a:t>
          </a:r>
          <a:endParaRPr lang="pt-PT" sz="2000" kern="1200" dirty="0"/>
        </a:p>
      </dsp:txBody>
      <dsp:txXfrm>
        <a:off x="9009529" y="702732"/>
        <a:ext cx="1834839" cy="79383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C8B9F4-C07B-4BDB-9B02-274228176F65}">
      <dsp:nvSpPr>
        <dsp:cNvPr id="0" name=""/>
        <dsp:cNvSpPr/>
      </dsp:nvSpPr>
      <dsp:spPr>
        <a:xfrm>
          <a:off x="53" y="22062"/>
          <a:ext cx="5084401" cy="979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pt-PT" sz="2400" b="1" kern="1200" baseline="0" dirty="0"/>
            <a:t>Non-Preemptive (Cooperative)</a:t>
          </a:r>
          <a:endParaRPr lang="en-US" sz="2400" kern="1200" dirty="0"/>
        </a:p>
      </dsp:txBody>
      <dsp:txXfrm>
        <a:off x="53" y="22062"/>
        <a:ext cx="5084401" cy="979200"/>
      </dsp:txXfrm>
    </dsp:sp>
    <dsp:sp modelId="{9FA56444-34EE-48AD-9C14-1833291B460E}">
      <dsp:nvSpPr>
        <dsp:cNvPr id="0" name=""/>
        <dsp:cNvSpPr/>
      </dsp:nvSpPr>
      <dsp:spPr>
        <a:xfrm>
          <a:off x="53" y="1001262"/>
          <a:ext cx="5084401" cy="410652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SQL Server manages CPU scheduling for most activity (instead of the operating system).</a:t>
          </a:r>
          <a:endParaRPr lang="en-US" sz="2400" kern="1200" dirty="0"/>
        </a:p>
        <a:p>
          <a:pPr marL="228600" lvl="1" indent="-228600" algn="l" defTabSz="1066800">
            <a:lnSpc>
              <a:spcPct val="90000"/>
            </a:lnSpc>
            <a:spcBef>
              <a:spcPct val="0"/>
            </a:spcBef>
            <a:spcAft>
              <a:spcPct val="15000"/>
            </a:spcAft>
            <a:buChar char="•"/>
          </a:pPr>
          <a:r>
            <a:rPr lang="en-US" sz="2400" kern="1200" baseline="0" dirty="0"/>
            <a:t>SQL Server decides when a thread should wait or get switched out (known as yielding).</a:t>
          </a:r>
          <a:endParaRPr lang="en-US" sz="2400" kern="1200" dirty="0"/>
        </a:p>
        <a:p>
          <a:pPr marL="228600" lvl="1" indent="-228600" algn="l" defTabSz="1066800">
            <a:lnSpc>
              <a:spcPct val="90000"/>
            </a:lnSpc>
            <a:spcBef>
              <a:spcPct val="0"/>
            </a:spcBef>
            <a:spcAft>
              <a:spcPct val="15000"/>
            </a:spcAft>
            <a:buChar char="•"/>
          </a:pPr>
          <a:r>
            <a:rPr lang="en-US" sz="2400" kern="1200" dirty="0">
              <a:latin typeface="Segoe UI"/>
              <a:ea typeface="+mn-ea"/>
              <a:cs typeface="+mn-cs"/>
            </a:rPr>
            <a:t>SQL Server developers also programmed some predetermined voluntary yields to avoid starvation of other threads</a:t>
          </a:r>
          <a:endParaRPr lang="en-US" sz="2400" kern="1200" dirty="0"/>
        </a:p>
      </dsp:txBody>
      <dsp:txXfrm>
        <a:off x="53" y="1001262"/>
        <a:ext cx="5084401" cy="4106520"/>
      </dsp:txXfrm>
    </dsp:sp>
    <dsp:sp modelId="{A1C057C1-A8F1-4BFB-83F1-EF0CC59B6251}">
      <dsp:nvSpPr>
        <dsp:cNvPr id="0" name=""/>
        <dsp:cNvSpPr/>
      </dsp:nvSpPr>
      <dsp:spPr>
        <a:xfrm>
          <a:off x="5796271" y="22062"/>
          <a:ext cx="5084401" cy="979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baseline="0" dirty="0"/>
            <a:t>Preemptive</a:t>
          </a:r>
          <a:r>
            <a:rPr lang="en-US" sz="2800" kern="1200" baseline="0" dirty="0"/>
            <a:t> </a:t>
          </a:r>
          <a:endParaRPr lang="en-US" sz="2800" kern="1200" dirty="0"/>
        </a:p>
      </dsp:txBody>
      <dsp:txXfrm>
        <a:off x="5796271" y="22062"/>
        <a:ext cx="5084401" cy="979200"/>
      </dsp:txXfrm>
    </dsp:sp>
    <dsp:sp modelId="{669EB5CF-7E72-43BF-A8B8-27435BB06C03}">
      <dsp:nvSpPr>
        <dsp:cNvPr id="0" name=""/>
        <dsp:cNvSpPr/>
      </dsp:nvSpPr>
      <dsp:spPr>
        <a:xfrm>
          <a:off x="5796271" y="1001262"/>
          <a:ext cx="5084401" cy="410652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Preemption is the act of an operating system temporarily interrupting an executing task.</a:t>
          </a:r>
          <a:endParaRPr lang="en-US" sz="2400" kern="1200" dirty="0"/>
        </a:p>
        <a:p>
          <a:pPr marL="228600" lvl="1" indent="-228600" algn="l" defTabSz="1066800">
            <a:lnSpc>
              <a:spcPct val="90000"/>
            </a:lnSpc>
            <a:spcBef>
              <a:spcPct val="0"/>
            </a:spcBef>
            <a:spcAft>
              <a:spcPct val="15000"/>
            </a:spcAft>
            <a:buChar char="•"/>
          </a:pPr>
          <a:r>
            <a:rPr lang="en-US" sz="2400" kern="1200" baseline="0" dirty="0"/>
            <a:t>Higher priority tasks can preempt lower priority tasks.</a:t>
          </a:r>
          <a:endParaRPr lang="en-US" sz="2400" kern="1200" dirty="0"/>
        </a:p>
        <a:p>
          <a:pPr marL="228600" lvl="1" indent="-228600" algn="l" defTabSz="1066800">
            <a:lnSpc>
              <a:spcPct val="90000"/>
            </a:lnSpc>
            <a:spcBef>
              <a:spcPct val="0"/>
            </a:spcBef>
            <a:spcAft>
              <a:spcPct val="15000"/>
            </a:spcAft>
            <a:buChar char="•"/>
          </a:pPr>
          <a:r>
            <a:rPr lang="en-US" sz="2400" kern="1200" dirty="0">
              <a:latin typeface="Segoe UI"/>
              <a:ea typeface="+mn-ea"/>
              <a:cs typeface="+mn-cs"/>
            </a:rPr>
            <a:t>Preemptive mode used in SQL Server for external code calls, CLR with an UNSAFE assemblies, extended stored procedures</a:t>
          </a:r>
          <a:endParaRPr lang="en-US" sz="2400" kern="1200" dirty="0"/>
        </a:p>
      </dsp:txBody>
      <dsp:txXfrm>
        <a:off x="5796271" y="1001262"/>
        <a:ext cx="5084401" cy="410652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0538EA-FD32-4F11-98AF-48E41511D9CC}">
      <dsp:nvSpPr>
        <dsp:cNvPr id="0" name=""/>
        <dsp:cNvSpPr/>
      </dsp:nvSpPr>
      <dsp:spPr>
        <a:xfrm>
          <a:off x="1552150" y="2836"/>
          <a:ext cx="3703059" cy="22218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baseline="0"/>
            <a:t>One SQLOS Scheduler per core/logical processor</a:t>
          </a:r>
          <a:endParaRPr lang="en-US" sz="2600" kern="1200"/>
        </a:p>
      </dsp:txBody>
      <dsp:txXfrm>
        <a:off x="1552150" y="2836"/>
        <a:ext cx="3703059" cy="2221835"/>
      </dsp:txXfrm>
    </dsp:sp>
    <dsp:sp modelId="{A72C4992-5AAD-470C-B2FF-7DC5FE70ADD1}">
      <dsp:nvSpPr>
        <dsp:cNvPr id="0" name=""/>
        <dsp:cNvSpPr/>
      </dsp:nvSpPr>
      <dsp:spPr>
        <a:xfrm>
          <a:off x="5625515" y="2836"/>
          <a:ext cx="3703059" cy="2221835"/>
        </a:xfrm>
        <a:prstGeom prst="rect">
          <a:avLst/>
        </a:prstGeom>
        <a:solidFill>
          <a:schemeClr val="accent2">
            <a:hueOff val="-4021024"/>
            <a:satOff val="18157"/>
            <a:lumOff val="568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baseline="0"/>
            <a:t>Handles scheduling tasks, I/O, and synchronization of resources</a:t>
          </a:r>
          <a:endParaRPr lang="en-US" sz="2600" kern="1200"/>
        </a:p>
      </dsp:txBody>
      <dsp:txXfrm>
        <a:off x="5625515" y="2836"/>
        <a:ext cx="3703059" cy="2221835"/>
      </dsp:txXfrm>
    </dsp:sp>
    <dsp:sp modelId="{FB3AD4C2-E22E-4317-B905-CE6A7772C3A5}">
      <dsp:nvSpPr>
        <dsp:cNvPr id="0" name=""/>
        <dsp:cNvSpPr/>
      </dsp:nvSpPr>
      <dsp:spPr>
        <a:xfrm>
          <a:off x="1552150" y="2594977"/>
          <a:ext cx="3703059" cy="2221835"/>
        </a:xfrm>
        <a:prstGeom prst="rect">
          <a:avLst/>
        </a:prstGeom>
        <a:solidFill>
          <a:schemeClr val="accent2">
            <a:hueOff val="-8042049"/>
            <a:satOff val="36314"/>
            <a:lumOff val="113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baseline="0"/>
            <a:t>Work requests are balanced across schedulers based on the number of active tasks</a:t>
          </a:r>
          <a:endParaRPr lang="en-US" sz="2600" kern="1200"/>
        </a:p>
      </dsp:txBody>
      <dsp:txXfrm>
        <a:off x="1552150" y="2594977"/>
        <a:ext cx="3703059" cy="2221835"/>
      </dsp:txXfrm>
    </dsp:sp>
    <dsp:sp modelId="{B9E35828-9A64-4DC0-9438-F07756C8E595}">
      <dsp:nvSpPr>
        <dsp:cNvPr id="0" name=""/>
        <dsp:cNvSpPr/>
      </dsp:nvSpPr>
      <dsp:spPr>
        <a:xfrm>
          <a:off x="5625515" y="2594977"/>
          <a:ext cx="3703059" cy="2221835"/>
        </a:xfrm>
        <a:prstGeom prst="rect">
          <a:avLst/>
        </a:prstGeom>
        <a:solidFill>
          <a:srgbClr val="274B4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baseline="0" dirty="0"/>
            <a:t>Monitor using </a:t>
          </a:r>
          <a:r>
            <a:rPr lang="en-US" sz="2600" kern="1200" baseline="0" dirty="0" err="1"/>
            <a:t>sys.dm_os_schedulers</a:t>
          </a:r>
          <a:endParaRPr lang="en-US" sz="2600" kern="1200" dirty="0"/>
        </a:p>
      </dsp:txBody>
      <dsp:txXfrm>
        <a:off x="5625515" y="2594977"/>
        <a:ext cx="3703059" cy="222183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5B37A8-CE14-4E1B-940F-3DD88250DA1A}">
      <dsp:nvSpPr>
        <dsp:cNvPr id="0" name=""/>
        <dsp:cNvSpPr/>
      </dsp:nvSpPr>
      <dsp:spPr>
        <a:xfrm>
          <a:off x="-5692222" y="-871315"/>
          <a:ext cx="6777026" cy="6777026"/>
        </a:xfrm>
        <a:prstGeom prst="blockArc">
          <a:avLst>
            <a:gd name="adj1" fmla="val 18900000"/>
            <a:gd name="adj2" fmla="val 2700000"/>
            <a:gd name="adj3" fmla="val 319"/>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7B6145-3C04-468A-A4C1-F34B906D01D1}">
      <dsp:nvSpPr>
        <dsp:cNvPr id="0" name=""/>
        <dsp:cNvSpPr/>
      </dsp:nvSpPr>
      <dsp:spPr>
        <a:xfrm>
          <a:off x="567848" y="387044"/>
          <a:ext cx="10242364" cy="77449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14752" tIns="53340" rIns="53340" bIns="53340" numCol="1" spcCol="1270" anchor="ctr" anchorCtr="0">
          <a:noAutofit/>
        </a:bodyPr>
        <a:lstStyle/>
        <a:p>
          <a:pPr marL="0" lvl="0" indent="0" algn="l" defTabSz="933450">
            <a:lnSpc>
              <a:spcPct val="90000"/>
            </a:lnSpc>
            <a:spcBef>
              <a:spcPct val="0"/>
            </a:spcBef>
            <a:spcAft>
              <a:spcPct val="35000"/>
            </a:spcAft>
            <a:buNone/>
          </a:pPr>
          <a:r>
            <a:rPr lang="en-US" sz="2100" kern="1200" baseline="0" dirty="0"/>
            <a:t>Troubleshooting methodology to identify resource bottlenecks.</a:t>
          </a:r>
          <a:endParaRPr lang="en-US" sz="2100" kern="1200" dirty="0"/>
        </a:p>
      </dsp:txBody>
      <dsp:txXfrm>
        <a:off x="567848" y="387044"/>
        <a:ext cx="10242364" cy="774491"/>
      </dsp:txXfrm>
    </dsp:sp>
    <dsp:sp modelId="{EA789D9B-79AF-40A6-8354-6E0DB3438074}">
      <dsp:nvSpPr>
        <dsp:cNvPr id="0" name=""/>
        <dsp:cNvSpPr/>
      </dsp:nvSpPr>
      <dsp:spPr>
        <a:xfrm>
          <a:off x="83791" y="290232"/>
          <a:ext cx="968114" cy="96811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09AC65-467E-497D-BF7A-4AECAB2052C7}">
      <dsp:nvSpPr>
        <dsp:cNvPr id="0" name=""/>
        <dsp:cNvSpPr/>
      </dsp:nvSpPr>
      <dsp:spPr>
        <a:xfrm>
          <a:off x="1011881" y="1548982"/>
          <a:ext cx="9798331" cy="77449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14752" tIns="53340" rIns="53340" bIns="53340" numCol="1" spcCol="1270" anchor="ctr" anchorCtr="0">
          <a:noAutofit/>
        </a:bodyPr>
        <a:lstStyle/>
        <a:p>
          <a:pPr marL="0" lvl="0" indent="0" algn="l" defTabSz="933450">
            <a:lnSpc>
              <a:spcPct val="90000"/>
            </a:lnSpc>
            <a:spcBef>
              <a:spcPct val="0"/>
            </a:spcBef>
            <a:spcAft>
              <a:spcPct val="35000"/>
            </a:spcAft>
            <a:buNone/>
          </a:pPr>
          <a:r>
            <a:rPr lang="en-US" sz="2100" kern="1200" baseline="0" dirty="0"/>
            <a:t>SQL Server maintains the state in which workers wait.</a:t>
          </a:r>
          <a:endParaRPr lang="en-US" sz="2100" kern="1200" dirty="0"/>
        </a:p>
      </dsp:txBody>
      <dsp:txXfrm>
        <a:off x="1011881" y="1548982"/>
        <a:ext cx="9798331" cy="774491"/>
      </dsp:txXfrm>
    </dsp:sp>
    <dsp:sp modelId="{D332BF79-271C-4DCB-A41E-A2BF0171722F}">
      <dsp:nvSpPr>
        <dsp:cNvPr id="0" name=""/>
        <dsp:cNvSpPr/>
      </dsp:nvSpPr>
      <dsp:spPr>
        <a:xfrm>
          <a:off x="527824" y="1452171"/>
          <a:ext cx="968114" cy="96811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4BBB36-A537-46B1-B432-E7720752E8BD}">
      <dsp:nvSpPr>
        <dsp:cNvPr id="0" name=""/>
        <dsp:cNvSpPr/>
      </dsp:nvSpPr>
      <dsp:spPr>
        <a:xfrm>
          <a:off x="1011881" y="2710921"/>
          <a:ext cx="9798331" cy="77449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14752" tIns="53340" rIns="53340" bIns="53340" numCol="1" spcCol="1270" anchor="ctr" anchorCtr="0">
          <a:noAutofit/>
        </a:bodyPr>
        <a:lstStyle/>
        <a:p>
          <a:pPr marL="0" lvl="0" indent="0" algn="l" defTabSz="933450">
            <a:lnSpc>
              <a:spcPct val="90000"/>
            </a:lnSpc>
            <a:spcBef>
              <a:spcPct val="0"/>
            </a:spcBef>
            <a:spcAft>
              <a:spcPct val="35000"/>
            </a:spcAft>
            <a:buNone/>
          </a:pPr>
          <a:r>
            <a:rPr lang="en-US" sz="2100" kern="1200" baseline="0"/>
            <a:t>Waits are represented by the SQL Server wait statistics; tracking waits over time.</a:t>
          </a:r>
          <a:endParaRPr lang="en-US" sz="2100" kern="1200"/>
        </a:p>
      </dsp:txBody>
      <dsp:txXfrm>
        <a:off x="1011881" y="2710921"/>
        <a:ext cx="9798331" cy="774491"/>
      </dsp:txXfrm>
    </dsp:sp>
    <dsp:sp modelId="{9943A29A-0ADA-4AD0-BE2D-3C48E671F264}">
      <dsp:nvSpPr>
        <dsp:cNvPr id="0" name=""/>
        <dsp:cNvSpPr/>
      </dsp:nvSpPr>
      <dsp:spPr>
        <a:xfrm>
          <a:off x="527824" y="2614109"/>
          <a:ext cx="968114" cy="96811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FA9F5AB-C6F5-4790-96FE-D7058348E63C}">
      <dsp:nvSpPr>
        <dsp:cNvPr id="0" name=""/>
        <dsp:cNvSpPr/>
      </dsp:nvSpPr>
      <dsp:spPr>
        <a:xfrm>
          <a:off x="567848" y="3872859"/>
          <a:ext cx="10242364" cy="77449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14752" tIns="53340" rIns="53340" bIns="53340" numCol="1" spcCol="1270" anchor="ctr" anchorCtr="0">
          <a:noAutofit/>
        </a:bodyPr>
        <a:lstStyle/>
        <a:p>
          <a:pPr marL="0" lvl="0" indent="0" algn="l" defTabSz="933450">
            <a:lnSpc>
              <a:spcPct val="90000"/>
            </a:lnSpc>
            <a:spcBef>
              <a:spcPct val="0"/>
            </a:spcBef>
            <a:spcAft>
              <a:spcPct val="35000"/>
            </a:spcAft>
            <a:buNone/>
          </a:pPr>
          <a:r>
            <a:rPr lang="en-US" sz="2100" kern="1200" baseline="0"/>
            <a:t>Queues are represented by performance objects and counters.</a:t>
          </a:r>
          <a:endParaRPr lang="en-US" sz="2100" kern="1200"/>
        </a:p>
      </dsp:txBody>
      <dsp:txXfrm>
        <a:off x="567848" y="3872859"/>
        <a:ext cx="10242364" cy="774491"/>
      </dsp:txXfrm>
    </dsp:sp>
    <dsp:sp modelId="{B5724A4D-6C20-451A-A3A1-6E065DD4A618}">
      <dsp:nvSpPr>
        <dsp:cNvPr id="0" name=""/>
        <dsp:cNvSpPr/>
      </dsp:nvSpPr>
      <dsp:spPr>
        <a:xfrm>
          <a:off x="83791" y="3776047"/>
          <a:ext cx="968114" cy="96811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CD9A8C-3E0A-4D13-A7FE-D583CD7C92AF}">
      <dsp:nvSpPr>
        <dsp:cNvPr id="0" name=""/>
        <dsp:cNvSpPr/>
      </dsp:nvSpPr>
      <dsp:spPr>
        <a:xfrm>
          <a:off x="0" y="271558"/>
          <a:ext cx="11353304" cy="1521000"/>
        </a:xfrm>
        <a:prstGeom prst="roundRect">
          <a:avLst/>
        </a:prstGeom>
        <a:solidFill>
          <a:schemeClr val="dk2">
            <a:hueOff val="0"/>
            <a:satOff val="0"/>
            <a:lumOff val="0"/>
            <a:alphaOff val="0"/>
          </a:schemeClr>
        </a:solidFill>
        <a:ln w="17145" cap="flat" cmpd="sng" algn="ctr">
          <a:solidFill>
            <a:schemeClr val="lt2">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GB" sz="3600" b="1" kern="1200" dirty="0"/>
            <a:t>Runnable: </a:t>
          </a:r>
          <a:r>
            <a:rPr lang="en-GB" sz="3600" b="0" kern="1200" dirty="0"/>
            <a:t>The thread is currently in the Runnable Queue waiting to execute. (First In, First Out). </a:t>
          </a:r>
          <a:endParaRPr lang="en-US" sz="3600" kern="1200" dirty="0"/>
        </a:p>
      </dsp:txBody>
      <dsp:txXfrm>
        <a:off x="74249" y="345807"/>
        <a:ext cx="11204806" cy="1372502"/>
      </dsp:txXfrm>
    </dsp:sp>
    <dsp:sp modelId="{6B847B8C-D7F0-4974-8DFF-2B5BA70AB85F}">
      <dsp:nvSpPr>
        <dsp:cNvPr id="0" name=""/>
        <dsp:cNvSpPr/>
      </dsp:nvSpPr>
      <dsp:spPr>
        <a:xfrm>
          <a:off x="0" y="1979759"/>
          <a:ext cx="11353304" cy="1521000"/>
        </a:xfrm>
        <a:prstGeom prst="roundRect">
          <a:avLst/>
        </a:prstGeom>
        <a:solidFill>
          <a:schemeClr val="dk2">
            <a:hueOff val="0"/>
            <a:satOff val="0"/>
            <a:lumOff val="0"/>
            <a:alphaOff val="0"/>
          </a:schemeClr>
        </a:solidFill>
        <a:ln w="17145" cap="flat" cmpd="sng" algn="ctr">
          <a:solidFill>
            <a:schemeClr val="lt2">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GB" sz="3600" b="1" kern="1200" dirty="0"/>
            <a:t>Running: </a:t>
          </a:r>
          <a:r>
            <a:rPr lang="en-GB" sz="3600" kern="1200" dirty="0"/>
            <a:t>One active thread executing on a processor. </a:t>
          </a:r>
          <a:endParaRPr lang="en-US" sz="3600" kern="1200" dirty="0"/>
        </a:p>
      </dsp:txBody>
      <dsp:txXfrm>
        <a:off x="74249" y="2054008"/>
        <a:ext cx="11204806" cy="1372502"/>
      </dsp:txXfrm>
    </dsp:sp>
    <dsp:sp modelId="{C33A9ECD-F177-41F7-B563-4EDE05550E66}">
      <dsp:nvSpPr>
        <dsp:cNvPr id="0" name=""/>
        <dsp:cNvSpPr/>
      </dsp:nvSpPr>
      <dsp:spPr>
        <a:xfrm>
          <a:off x="0" y="3687959"/>
          <a:ext cx="11353304" cy="1521000"/>
        </a:xfrm>
        <a:prstGeom prst="roundRect">
          <a:avLst/>
        </a:prstGeom>
        <a:solidFill>
          <a:schemeClr val="dk2">
            <a:hueOff val="0"/>
            <a:satOff val="0"/>
            <a:lumOff val="0"/>
            <a:alphaOff val="0"/>
          </a:schemeClr>
        </a:solidFill>
        <a:ln w="17145" cap="flat" cmpd="sng" algn="ctr">
          <a:solidFill>
            <a:schemeClr val="lt2">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GB" sz="3600" b="1" kern="1200"/>
            <a:t>Suspended: </a:t>
          </a:r>
          <a:r>
            <a:rPr lang="en-GB" sz="3600" b="0" kern="1200"/>
            <a:t>Placed on a Waiter List waiting for a resource other than a processor. (No specific order).</a:t>
          </a:r>
          <a:endParaRPr lang="en-US" sz="3600" kern="1200" dirty="0"/>
        </a:p>
      </dsp:txBody>
      <dsp:txXfrm>
        <a:off x="74249" y="3762208"/>
        <a:ext cx="11204806" cy="137250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B511CA-C1BF-4295-803C-896FFFAB8E86}">
      <dsp:nvSpPr>
        <dsp:cNvPr id="0" name=""/>
        <dsp:cNvSpPr/>
      </dsp:nvSpPr>
      <dsp:spPr>
        <a:xfrm>
          <a:off x="0" y="404607"/>
          <a:ext cx="10880725" cy="1822117"/>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In SQL Server, each thread is assigned a quantum (duration 4ms), with SQL Server using a cooperative model to ensure its CPU resources are shared amongst all the threads that are in a runnable state, preventing the ‘starving’ condition of any individual thread.</a:t>
          </a:r>
          <a:endParaRPr lang="en-US" sz="2400" kern="1200" dirty="0"/>
        </a:p>
      </dsp:txBody>
      <dsp:txXfrm>
        <a:off x="88948" y="493555"/>
        <a:ext cx="10702829" cy="1644221"/>
      </dsp:txXfrm>
    </dsp:sp>
    <dsp:sp modelId="{6EE0CC8D-0EEA-4B31-A639-4B6CFFB3C858}">
      <dsp:nvSpPr>
        <dsp:cNvPr id="0" name=""/>
        <dsp:cNvSpPr/>
      </dsp:nvSpPr>
      <dsp:spPr>
        <a:xfrm>
          <a:off x="0" y="2238115"/>
          <a:ext cx="10880725" cy="1223423"/>
        </a:xfrm>
        <a:prstGeom prst="roundRect">
          <a:avLst/>
        </a:prstGeom>
        <a:solidFill>
          <a:schemeClr val="accent2">
            <a:hueOff val="-6031536"/>
            <a:satOff val="27236"/>
            <a:lumOff val="85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By design, a worker owns the scheduler until it yields to another worker on the same scheduler.</a:t>
          </a:r>
          <a:endParaRPr lang="en-US" sz="2400" kern="1200" dirty="0"/>
        </a:p>
      </dsp:txBody>
      <dsp:txXfrm>
        <a:off x="59723" y="2297838"/>
        <a:ext cx="10761279" cy="1103977"/>
      </dsp:txXfrm>
    </dsp:sp>
    <dsp:sp modelId="{EC126341-CE69-4EE0-8D2D-5210154866F5}">
      <dsp:nvSpPr>
        <dsp:cNvPr id="0" name=""/>
        <dsp:cNvSpPr/>
      </dsp:nvSpPr>
      <dsp:spPr>
        <a:xfrm>
          <a:off x="0" y="3472929"/>
          <a:ext cx="10880725" cy="1443761"/>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When no worker is currently on the Runnable list, the </a:t>
          </a:r>
          <a:r>
            <a:rPr lang="en-US" sz="2400" b="1" kern="1200" baseline="0" dirty="0"/>
            <a:t>yielding worker is allowed another quantum</a:t>
          </a:r>
          <a:r>
            <a:rPr lang="en-US" sz="2400" kern="1200" baseline="0" dirty="0"/>
            <a:t> or performs the necessary idle scheduler maintenance.</a:t>
          </a:r>
          <a:endParaRPr lang="en-US" sz="2400" kern="1200" dirty="0"/>
        </a:p>
      </dsp:txBody>
      <dsp:txXfrm>
        <a:off x="70479" y="3543408"/>
        <a:ext cx="10739767" cy="1302803"/>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11.08.2022</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8/11/2022</a:t>
            </a:fld>
            <a:endParaRPr lang="en-US" noProof="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27.xml"/><Relationship Id="rId6" Type="http://schemas.openxmlformats.org/officeDocument/2006/relationships/hyperlink" Target="http://msdn.microsoft.com/en-us/library/ms190219.aspx" TargetMode="External"/><Relationship Id="rId5" Type="http://schemas.openxmlformats.org/officeDocument/2006/relationships/hyperlink" Target="http://msdn.microsoft.com/en-us/library/ms176043.aspx" TargetMode="External"/><Relationship Id="rId4" Type="http://schemas.openxmlformats.org/officeDocument/2006/relationships/hyperlink" Target="http://msdn.microsoft.com/en-us/library/ms189267.aspx"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msdn.microsoft.com/en-us/library/ms189267.aspx"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technet.microsoft.com/en-us/library/cc917684.aspx#XSLTsection129121120120" TargetMode="External"/><Relationship Id="rId5" Type="http://schemas.openxmlformats.org/officeDocument/2006/relationships/hyperlink" Target="http://msdn.microsoft.com/en-us/library/ms190219.aspx" TargetMode="External"/><Relationship Id="rId4" Type="http://schemas.openxmlformats.org/officeDocument/2006/relationships/hyperlink" Target="http://msdn.microsoft.com/en-us/library/ms176043.aspx"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slide" Target="../slides/slide17.xml"/><Relationship Id="rId2" Type="http://schemas.openxmlformats.org/officeDocument/2006/relationships/notesMaster" Target="../notesMasters/notesMaster1.xml"/><Relationship Id="rId1" Type="http://schemas.openxmlformats.org/officeDocument/2006/relationships/tags" Target="../tags/tag30.xml"/><Relationship Id="rId4" Type="http://schemas.openxmlformats.org/officeDocument/2006/relationships/hyperlink" Target="https://technet.microsoft.com/en-us/library/cc917684.aspx#XSLTsection129121120120"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slide" Target="../slides/slide18.xml"/><Relationship Id="rId7" Type="http://schemas.openxmlformats.org/officeDocument/2006/relationships/hyperlink" Target="https://techcommunity.microsoft.com/t5/sql-server/sql-server-2019-intelligent-performance-worker-migration/ba-p/939610" TargetMode="External"/><Relationship Id="rId2" Type="http://schemas.openxmlformats.org/officeDocument/2006/relationships/notesMaster" Target="../notesMasters/notesMaster1.xml"/><Relationship Id="rId1" Type="http://schemas.openxmlformats.org/officeDocument/2006/relationships/tags" Target="../tags/tag32.xml"/><Relationship Id="rId6" Type="http://schemas.openxmlformats.org/officeDocument/2006/relationships/hyperlink" Target="https://docs.microsoft.com/en-us/archive/blogs/bobsql/sql-2016-it-just-runs-faster-updated-scheduling-algorithms" TargetMode="External"/><Relationship Id="rId5" Type="http://schemas.openxmlformats.org/officeDocument/2006/relationships/hyperlink" Target="http://msdn.microsoft.com/en-us/library/ms187104.aspx" TargetMode="External"/><Relationship Id="rId4" Type="http://schemas.openxmlformats.org/officeDocument/2006/relationships/hyperlink" Target="http://msdn.microsoft.com/en-us/library/ee210585.aspx"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slide" Target="../slides/slide19.xml"/><Relationship Id="rId2" Type="http://schemas.openxmlformats.org/officeDocument/2006/relationships/notesMaster" Target="../notesMasters/notesMaster1.xml"/><Relationship Id="rId1" Type="http://schemas.openxmlformats.org/officeDocument/2006/relationships/tags" Target="../tags/tag34.xml"/><Relationship Id="rId5" Type="http://schemas.openxmlformats.org/officeDocument/2006/relationships/hyperlink" Target="https://www.sqlskills.com/help/sql-server-performance-tuning-using-wait-statistics" TargetMode="External"/><Relationship Id="rId4" Type="http://schemas.openxmlformats.org/officeDocument/2006/relationships/hyperlink" Target="http://technet.microsoft.com/en-us/library/cc966413.aspx"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technet.microsoft.com/en-us/library/cc917684.aspx#XSLTsection129121120120"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notesMaster" Target="../notesMasters/notesMaster1.xml"/><Relationship Id="rId1" Type="http://schemas.openxmlformats.org/officeDocument/2006/relationships/tags" Target="../tags/tag38.xml"/><Relationship Id="rId5" Type="http://schemas.openxmlformats.org/officeDocument/2006/relationships/hyperlink" Target="https://msdn.microsoft.com/en-us/library/ms179984.aspx" TargetMode="External"/><Relationship Id="rId4" Type="http://schemas.openxmlformats.org/officeDocument/2006/relationships/hyperlink" Target="http://technet.microsoft.com/en-us/library/cc966413.aspx"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8" Type="http://schemas.openxmlformats.org/officeDocument/2006/relationships/hyperlink" Target="http://msdn.microsoft.com/en-us/library/ms179984.aspx" TargetMode="External"/><Relationship Id="rId3" Type="http://schemas.openxmlformats.org/officeDocument/2006/relationships/slide" Target="../slides/slide25.xml"/><Relationship Id="rId7" Type="http://schemas.openxmlformats.org/officeDocument/2006/relationships/hyperlink" Target="http://blogs.msdn.com/b/psssql/archive/2009/11/03/the-sql-server-wait-type-repository.aspx" TargetMode="External"/><Relationship Id="rId2" Type="http://schemas.openxmlformats.org/officeDocument/2006/relationships/notesMaster" Target="../notesMasters/notesMaster1.xml"/><Relationship Id="rId1" Type="http://schemas.openxmlformats.org/officeDocument/2006/relationships/tags" Target="../tags/tag41.xml"/><Relationship Id="rId6" Type="http://schemas.openxmlformats.org/officeDocument/2006/relationships/hyperlink" Target="https://msdn.microsoft.com/library/ms177648.aspx" TargetMode="External"/><Relationship Id="rId5" Type="http://schemas.openxmlformats.org/officeDocument/2006/relationships/hyperlink" Target="https://msdn.microsoft.com/en-us/library/ms188743.aspx" TargetMode="External"/><Relationship Id="rId4" Type="http://schemas.openxmlformats.org/officeDocument/2006/relationships/hyperlink" Target="https://msdn.microsoft.com/en-us/library/ms179984.aspx" TargetMode="Externa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blogs.msdn.com/b/blogdoezequiel/archive/2012/09/18/sql-swiss-army-knife-11-1-locking-blocking-and-active-transactions.aspx"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g-architecture-and-management-guide?view=sql-server-ver15" TargetMode="External"/><Relationship Id="rId7" Type="http://schemas.openxmlformats.org/officeDocument/2006/relationships/hyperlink" Target="https://docs.microsoft.com/en-us/previous-versions/sql/sql-server-2008/ee410782(v=sql.100)" TargetMode="External"/><Relationship Id="rId2" Type="http://schemas.openxmlformats.org/officeDocument/2006/relationships/slide" Target="../slides/slide30.xml"/><Relationship Id="rId1" Type="http://schemas.openxmlformats.org/officeDocument/2006/relationships/notesMaster" Target="../notesMasters/notesMaster1.xml"/><Relationship Id="rId6" Type="http://schemas.openxmlformats.org/officeDocument/2006/relationships/hyperlink" Target="https://docs.microsoft.com/en-us/sql/relational-databases/writing-pages?view=sql-server-ver15" TargetMode="External"/><Relationship Id="rId5" Type="http://schemas.openxmlformats.org/officeDocument/2006/relationships/hyperlink" Target="https://docs.microsoft.com/en-us/sql/relational-databases/sql-server-transaction-log-architecture-and-management-guide?view=sql-server-ver15#WAL" TargetMode="External"/><Relationship Id="rId4" Type="http://schemas.openxmlformats.org/officeDocument/2006/relationships/hyperlink" Target="https://docs.microsoft.com/en-us/previous-versions/office/developer/server-technologies/aa480356(v=msdn.10)" TargetMode="External"/></Relationships>
</file>

<file path=ppt/notesSlides/_rels/notesSlide27.xml.rels><?xml version="1.0" encoding="UTF-8" standalone="yes"?>
<Relationships xmlns="http://schemas.openxmlformats.org/package/2006/relationships"><Relationship Id="rId3" Type="http://schemas.openxmlformats.org/officeDocument/2006/relationships/slide" Target="../slides/slide32.xml"/><Relationship Id="rId2" Type="http://schemas.openxmlformats.org/officeDocument/2006/relationships/notesMaster" Target="../notesMasters/notesMaster1.xml"/><Relationship Id="rId1" Type="http://schemas.openxmlformats.org/officeDocument/2006/relationships/tags" Target="../tags/tag44.xml"/><Relationship Id="rId5" Type="http://schemas.openxmlformats.org/officeDocument/2006/relationships/hyperlink" Target="https://docs.microsoft.com/en-us/previous-versions/sql/sql-server-2008-r2/ms345403(v=sql.105)" TargetMode="External"/><Relationship Id="rId4" Type="http://schemas.openxmlformats.org/officeDocument/2006/relationships/hyperlink" Target="https://docs.microsoft.com/en-us/previous-versions/sql/sql-server-2008-r2/aa337525(v=sql.105)" TargetMode="Externa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s.microsoft.com/en-us/sql/t-sql/statements/set-statistics-io-transact-sql?view=sql-server-ver15" TargetMode="External"/><Relationship Id="rId2" Type="http://schemas.openxmlformats.org/officeDocument/2006/relationships/slide" Target="../slides/slide33.xml"/><Relationship Id="rId1" Type="http://schemas.openxmlformats.org/officeDocument/2006/relationships/notesMaster" Target="../notesMasters/notesMaster1.xml"/><Relationship Id="rId4" Type="http://schemas.openxmlformats.org/officeDocument/2006/relationships/hyperlink" Target="https://docs.microsoft.com/en-us/sql/t-sql/statements/set-statistics-time-transact-sql?view=sql-server-ver15"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docs.microsoft.com/en-us/sql/relational-databases/logs/database-checkpoints-sql-server?view=sql-server-ver15" TargetMode="External"/><Relationship Id="rId2" Type="http://schemas.openxmlformats.org/officeDocument/2006/relationships/slide" Target="../slides/slide35.xml"/><Relationship Id="rId1" Type="http://schemas.openxmlformats.org/officeDocument/2006/relationships/notesMaster" Target="../notesMasters/notesMaster1.xml"/><Relationship Id="rId5" Type="http://schemas.openxmlformats.org/officeDocument/2006/relationships/hyperlink" Target="https://docs.microsoft.com/en-us/sql/relational-databases/logs/change-the-target-recovery-time-of-a-database-sql-server?view=sql-server-ver15" TargetMode="External"/><Relationship Id="rId4" Type="http://schemas.openxmlformats.org/officeDocument/2006/relationships/hyperlink" Target="https://docs.microsoft.com/en-us/sql/database-engine/configure-windows/configure-the-recovery-interval-server-configuration-option?view=sql-server-ver15" TargetMode="Externa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14.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16.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18.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20.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a:t>
            </a:fld>
            <a:endParaRPr lang="en-US" noProof="0"/>
          </a:p>
        </p:txBody>
      </p:sp>
    </p:spTree>
    <p:extLst>
      <p:ext uri="{BB962C8B-B14F-4D97-AF65-F5344CB8AC3E}">
        <p14:creationId xmlns:p14="http://schemas.microsoft.com/office/powerpoint/2010/main" val="24706446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2</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8/11/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4814905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QL Server Scheduling Terminology</a:t>
            </a:r>
          </a:p>
          <a:p>
            <a:r>
              <a:rPr lang="en-US" b="0" dirty="0"/>
              <a:t>A </a:t>
            </a:r>
            <a:r>
              <a:rPr lang="en-US" b="1" dirty="0"/>
              <a:t>batch</a:t>
            </a:r>
            <a:r>
              <a:rPr lang="en-US" b="0" dirty="0"/>
              <a:t> is a query or a set of queries</a:t>
            </a:r>
            <a:r>
              <a:rPr lang="en-US" b="0" baseline="0" dirty="0"/>
              <a:t> being executed as a whole, it is basically everything between the GO separator as the GO command is a batch terminator.</a:t>
            </a:r>
            <a:endParaRPr lang="en-US" b="0" dirty="0"/>
          </a:p>
          <a:p>
            <a:r>
              <a:rPr lang="en-US" b="0" dirty="0"/>
              <a:t>The GO terminator determines what is going to be sent to SQL Server to be executed. A batch is a single unit of code that is sent to SQL Server, it can be one query</a:t>
            </a:r>
            <a:r>
              <a:rPr lang="en-US" b="0" baseline="0" dirty="0"/>
              <a:t> or many queries.</a:t>
            </a:r>
            <a:r>
              <a:rPr lang="en-US" b="0" dirty="0"/>
              <a:t> Internally, a batch from the client</a:t>
            </a:r>
            <a:r>
              <a:rPr lang="en-US" b="0" baseline="0" dirty="0"/>
              <a:t> to the SQL Server is seen as a request, a request for work to be done.</a:t>
            </a:r>
          </a:p>
          <a:p>
            <a:endParaRPr lang="en-US" b="0" baseline="0"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b="0" baseline="0" dirty="0"/>
              <a:t>All of the active requests can be seen in </a:t>
            </a:r>
            <a:r>
              <a:rPr lang="en-US" dirty="0"/>
              <a:t>sys.dm_exec_requests. If your query is</a:t>
            </a:r>
            <a:r>
              <a:rPr lang="en-US" baseline="0" dirty="0"/>
              <a:t> completed and your session is still open and idle it is not going to show up in sys.dm_exec_requests. It is only something that is actively executing a command or a request. </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b="0" baseline="0"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b="0" baseline="0" dirty="0"/>
              <a:t>A </a:t>
            </a:r>
            <a:r>
              <a:rPr lang="en-US" b="1" baseline="0" dirty="0"/>
              <a:t>task</a:t>
            </a:r>
            <a:r>
              <a:rPr lang="en-US" b="0" baseline="0" dirty="0"/>
              <a:t> is a unit of work that is scheduled by SQL Server. A request or a batch will have one or more tasks. A very simple query will have one task, but </a:t>
            </a:r>
            <a:r>
              <a:rPr lang="en-US" b="0" u="sng" baseline="0" dirty="0"/>
              <a:t>a more complicated query such as one that runs in parallel will have multiple tasks</a:t>
            </a:r>
            <a:r>
              <a:rPr lang="en-US" b="0" baseline="0" dirty="0"/>
              <a:t>. If you have a large query that runs in parallel and it is broken into separate parts then that query is going to have multiple tasks. You can monitor with </a:t>
            </a:r>
            <a:r>
              <a:rPr lang="en-US" dirty="0"/>
              <a:t>sys.dm_os_tasks.</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dirty="0"/>
              <a:t>A </a:t>
            </a:r>
            <a:r>
              <a:rPr lang="en-US" b="1" dirty="0"/>
              <a:t>worker thread</a:t>
            </a:r>
            <a:r>
              <a:rPr lang="en-US" b="1" baseline="0" dirty="0"/>
              <a:t> </a:t>
            </a:r>
            <a:r>
              <a:rPr lang="en-US" b="0" baseline="0" dirty="0"/>
              <a:t>is a thread that is assigned to a task to do the work the task requires. This is a logical thread in the SQL Server process. The SQL Server process will have many worker threads. The number of worker threads we have is dynamic. SQL Server will spin up additional threads based on what the current workload is. After the task is complete, the worker thread that was assigned goes back into the pool and will be assigned to another thread when needed from the pool. This can be m</a:t>
            </a:r>
            <a:r>
              <a:rPr lang="en-US" dirty="0"/>
              <a:t>onitored with </a:t>
            </a:r>
            <a:r>
              <a:rPr lang="en-US" dirty="0" err="1"/>
              <a:t>sys.dm_os_workers</a:t>
            </a:r>
            <a:r>
              <a:rPr lang="en-US" dirty="0"/>
              <a:t>.</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dirty="0"/>
              <a:t>These</a:t>
            </a:r>
            <a:r>
              <a:rPr lang="en-US" baseline="0" dirty="0"/>
              <a:t> worker threads are being used to send work out to Windows for the CPUs</a:t>
            </a:r>
            <a:r>
              <a:rPr lang="en-US" dirty="0"/>
              <a:t> </a:t>
            </a:r>
            <a:r>
              <a:rPr lang="en-US" baseline="0" dirty="0"/>
              <a:t>to be executed. So the worker threads in SQL Server will map to an operating system-level thread which is where the work is actually being done. We are managing these threads internally with an internal scheduler but we are also farming them out to the Windows OS to be executed on the CPU so they end up going through the Windows scheduler as well. </a:t>
            </a:r>
            <a:endParaRPr lang="en-US" dirty="0"/>
          </a:p>
          <a:p>
            <a:r>
              <a:rPr lang="en-US" b="1" dirty="0"/>
              <a:t>Key Points</a:t>
            </a:r>
            <a:r>
              <a:rPr lang="en-US" dirty="0"/>
              <a:t>:</a:t>
            </a:r>
          </a:p>
          <a:p>
            <a:pPr>
              <a:spcAft>
                <a:spcPts val="600"/>
              </a:spcAft>
            </a:pPr>
            <a:r>
              <a:rPr lang="en-US" dirty="0"/>
              <a:t>Queries are submitted to SQL Server in the form of a batch which may contain one or many statements. Each statement within a batch is executed individually in succession and the results are sent to the client when complete. Typically a batch will result in a single task being executed, but queries that have parallel execution plans will have several tasks that are executed simultaneously (typically resulting in faster execution).</a:t>
            </a:r>
          </a:p>
          <a:p>
            <a:pPr>
              <a:spcAft>
                <a:spcPts val="600"/>
              </a:spcAft>
            </a:pPr>
            <a:r>
              <a:rPr lang="en-US" dirty="0"/>
              <a:t>When a task is scheduled, it is assigned to a worker thread. When it is time for the task to do work on a CPU, the SQL Server worker thread is submitted to the operating system for processing and will be assigned to an operating system thread. After the thread is submitted to the operating system for execution, Windows takes over and handles scheduling the thread for execution on one of the system CPUs.</a:t>
            </a:r>
          </a:p>
          <a:p>
            <a:pPr>
              <a:spcAft>
                <a:spcPts val="600"/>
              </a:spcAft>
            </a:pPr>
            <a:endParaRPr lang="en-US" dirty="0"/>
          </a:p>
          <a:p>
            <a:pPr>
              <a:spcAft>
                <a:spcPts val="600"/>
              </a:spcAft>
            </a:pPr>
            <a:r>
              <a:rPr lang="en-US" dirty="0"/>
              <a:t>The default maximum number of worker threads can be calculated using the following formula:</a:t>
            </a:r>
          </a:p>
          <a:p>
            <a:pPr>
              <a:spcAft>
                <a:spcPts val="600"/>
              </a:spcAft>
            </a:pPr>
            <a:r>
              <a:rPr lang="en-US" dirty="0"/>
              <a:t>Maximum worker threads = (512+ (&lt;# of processors&gt; -4) * 16)</a:t>
            </a:r>
          </a:p>
          <a:p>
            <a:endParaRPr lang="en-US" b="1" dirty="0"/>
          </a:p>
          <a:p>
            <a:r>
              <a:rPr lang="en-US" b="1" dirty="0"/>
              <a:t>Additional Reading:</a:t>
            </a:r>
          </a:p>
          <a:p>
            <a:r>
              <a:rPr lang="en-US" i="1" dirty="0"/>
              <a:t>SQL Server Batch or Task Scheduling</a:t>
            </a:r>
          </a:p>
          <a:p>
            <a:r>
              <a:rPr lang="en-US" dirty="0">
                <a:hlinkClick r:id="rId4"/>
              </a:rPr>
              <a:t>http://msdn.microsoft.com/en-us/library/ms189267.aspx</a:t>
            </a:r>
            <a:endParaRPr lang="en-US" dirty="0"/>
          </a:p>
          <a:p>
            <a:r>
              <a:rPr lang="en-US" i="1" dirty="0"/>
              <a:t>Thread and Task Architecture</a:t>
            </a:r>
          </a:p>
          <a:p>
            <a:r>
              <a:rPr lang="en-US" dirty="0">
                <a:hlinkClick r:id="rId5"/>
              </a:rPr>
              <a:t>http://msdn.microsoft.com/en-us/library/ms176043.aspx</a:t>
            </a:r>
            <a:endParaRPr lang="en-US" dirty="0"/>
          </a:p>
          <a:p>
            <a:r>
              <a:rPr lang="en-US" i="1" dirty="0"/>
              <a:t>Configure the max worker threads Server Configuration Option</a:t>
            </a:r>
          </a:p>
          <a:p>
            <a:r>
              <a:rPr lang="en-US" dirty="0">
                <a:hlinkClick r:id="rId6"/>
              </a:rPr>
              <a:t>http://msdn.microsoft.com/en-us/library/ms190219.aspx</a:t>
            </a:r>
            <a:endParaRPr lang="en-US" dirty="0"/>
          </a:p>
          <a:p>
            <a:endParaRPr lang="en-US" b="1"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15</a:t>
            </a:fld>
            <a:endParaRPr lang="en-US"/>
          </a:p>
        </p:txBody>
      </p:sp>
      <p:sp>
        <p:nvSpPr>
          <p:cNvPr id="6" name="Rectangular Callout 5"/>
          <p:cNvSpPr/>
          <p:nvPr/>
        </p:nvSpPr>
        <p:spPr>
          <a:xfrm>
            <a:off x="7010400" y="3200400"/>
            <a:ext cx="4419600" cy="2971800"/>
          </a:xfrm>
          <a:prstGeom prst="wedgeRectCallout">
            <a:avLst>
              <a:gd name="adj1" fmla="val -136241"/>
              <a:gd name="adj2" fmla="val -4123"/>
            </a:avLst>
          </a:prstGeom>
        </p:spPr>
        <p:style>
          <a:lnRef idx="1">
            <a:schemeClr val="accent1"/>
          </a:lnRef>
          <a:fillRef idx="3">
            <a:schemeClr val="accent1"/>
          </a:fillRef>
          <a:effectRef idx="2">
            <a:schemeClr val="accent1"/>
          </a:effectRef>
          <a:fontRef idx="minor">
            <a:schemeClr val="lt1"/>
          </a:fontRef>
        </p:style>
        <p:txBody>
          <a:bodyPr rtlCol="0" anchor="ctr"/>
          <a:lstStyle/>
          <a:p>
            <a:r>
              <a:rPr lang="en-CA" sz="1400"/>
              <a:t>Although the term 'execute' is used commonly in jargon, such as in 'execute a query', it should be avoided whenever possible in Microsoft content because of its violent and militaristic connotations. Do not use 'execute' in content for home users or information workers. Use 'run' instead. If the user interface includes 'execute', the user or program action is still run. Always use 'run' in the context of macros and queries. 'Execute' is acceptable in content for software developers because it has become ingrained, especially in the passive voice. 'Run' is preferable, however, where it does not cause any loss of meaning.</a:t>
            </a:r>
          </a:p>
          <a:p>
            <a:endParaRPr lang="en-CA" sz="1400"/>
          </a:p>
          <a:p>
            <a:r>
              <a:rPr lang="en-CA" sz="1400"/>
              <a:t>Please check all instances in the document.</a:t>
            </a:r>
            <a:endParaRPr lang="en-US" sz="1400"/>
          </a:p>
        </p:txBody>
      </p:sp>
      <p:sp>
        <p:nvSpPr>
          <p:cNvPr id="7" name="Rectangular Callout 6"/>
          <p:cNvSpPr/>
          <p:nvPr/>
        </p:nvSpPr>
        <p:spPr>
          <a:xfrm>
            <a:off x="7010400" y="6248400"/>
            <a:ext cx="2853994" cy="1066800"/>
          </a:xfrm>
          <a:prstGeom prst="wedgeRectCallout">
            <a:avLst>
              <a:gd name="adj1" fmla="val -225872"/>
              <a:gd name="adj2" fmla="val -106139"/>
            </a:avLst>
          </a:prstGeom>
        </p:spPr>
        <p:style>
          <a:lnRef idx="1">
            <a:schemeClr val="accent1"/>
          </a:lnRef>
          <a:fillRef idx="3">
            <a:schemeClr val="accent1"/>
          </a:fillRef>
          <a:effectRef idx="2">
            <a:schemeClr val="accent1"/>
          </a:effectRef>
          <a:fontRef idx="minor">
            <a:schemeClr val="lt1"/>
          </a:fontRef>
        </p:style>
        <p:txBody>
          <a:bodyPr rtlCol="0" anchor="ctr"/>
          <a:lstStyle/>
          <a:p>
            <a:r>
              <a:rPr lang="en-CA" sz="1400"/>
              <a:t>I changed this to remove bold and underline as it is against Microsoft style purely for emphasis. Please remove such formatting throughout</a:t>
            </a:r>
            <a:endParaRPr lang="en-US" sz="1400"/>
          </a:p>
        </p:txBody>
      </p:sp>
      <p:sp>
        <p:nvSpPr>
          <p:cNvPr id="11" name="Rectangular Callout 10"/>
          <p:cNvSpPr/>
          <p:nvPr/>
        </p:nvSpPr>
        <p:spPr>
          <a:xfrm>
            <a:off x="-1524000" y="7543800"/>
            <a:ext cx="2241235" cy="1318437"/>
          </a:xfrm>
          <a:prstGeom prst="wedgeRectCallout">
            <a:avLst>
              <a:gd name="adj1" fmla="val 52694"/>
              <a:gd name="adj2" fmla="val -88009"/>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avoid using first person “we”, “I”, or “our”.  Always use “you” or “Microsoft” if that is applicable. </a:t>
            </a:r>
          </a:p>
        </p:txBody>
      </p:sp>
    </p:spTree>
    <p:extLst>
      <p:ext uri="{BB962C8B-B14F-4D97-AF65-F5344CB8AC3E}">
        <p14:creationId xmlns:p14="http://schemas.microsoft.com/office/powerpoint/2010/main" val="9378094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 Can suffer from waits until completion.</a:t>
            </a:r>
            <a:endParaRPr lang="pt-PT" dirty="0"/>
          </a:p>
          <a:p>
            <a:r>
              <a:rPr lang="en-US" b="1" dirty="0"/>
              <a:t>Key Points</a:t>
            </a:r>
            <a:r>
              <a:rPr lang="en-US" dirty="0"/>
              <a:t>:</a:t>
            </a:r>
          </a:p>
          <a:p>
            <a:r>
              <a:rPr lang="en-US" dirty="0"/>
              <a:t>A client opens a </a:t>
            </a:r>
            <a:r>
              <a:rPr lang="en-US" b="1" dirty="0"/>
              <a:t>connection</a:t>
            </a:r>
            <a:r>
              <a:rPr lang="en-US" dirty="0"/>
              <a:t>, and after login, a connection opens a </a:t>
            </a:r>
            <a:r>
              <a:rPr lang="en-US" b="1" dirty="0"/>
              <a:t>session</a:t>
            </a:r>
            <a:r>
              <a:rPr lang="en-US" dirty="0"/>
              <a:t>. In a session, a query represents a </a:t>
            </a:r>
            <a:r>
              <a:rPr lang="en-US" b="1" dirty="0"/>
              <a:t>request</a:t>
            </a:r>
            <a:r>
              <a:rPr lang="en-US" dirty="0"/>
              <a:t>. The requests are handed over to </a:t>
            </a:r>
            <a:r>
              <a:rPr lang="en-US" b="1" dirty="0"/>
              <a:t>tasks</a:t>
            </a:r>
            <a:r>
              <a:rPr lang="en-US" dirty="0"/>
              <a:t> that see the work being done, that get one or more </a:t>
            </a:r>
            <a:r>
              <a:rPr lang="en-US" b="1" dirty="0"/>
              <a:t>workers</a:t>
            </a:r>
            <a:r>
              <a:rPr lang="en-US" dirty="0"/>
              <a:t> (threads) assigned to carry on the work until completion.</a:t>
            </a:r>
          </a:p>
          <a:p>
            <a:pPr>
              <a:spcAft>
                <a:spcPts val="600"/>
              </a:spcAft>
            </a:pPr>
            <a:r>
              <a:rPr lang="en-US" dirty="0"/>
              <a:t>Queries are submitted to SQL Server in the form of a batch, which may contain one or many statements. Each statement within a batch is executed individually in succession and the results are sent to the client when complete. Typically, a batch will result in a single task being executed, but queries that have parallel execution plans will have several tasks that are executed simultaneously (typically resulting in faster execution).</a:t>
            </a:r>
          </a:p>
          <a:p>
            <a:pPr>
              <a:spcAft>
                <a:spcPts val="600"/>
              </a:spcAft>
            </a:pPr>
            <a:r>
              <a:rPr lang="en-US" dirty="0"/>
              <a:t>When a task is scheduled, it is assigned to a worker thread. When it is time for the task to do work on a CPU, the SQL Server worker thread is submitted to the operating system for processing and will be assigned to an operating system thread. After the thread is submitted to the operating system for execution, Windows takes over and handles scheduling the thread for execution on one of the system CPUs.</a:t>
            </a:r>
          </a:p>
          <a:p>
            <a:r>
              <a:rPr lang="en-US" b="1" dirty="0"/>
              <a:t>Calculated Worker Threads at Startup:</a:t>
            </a:r>
          </a:p>
          <a:p>
            <a:r>
              <a:rPr lang="en-US" b="1" dirty="0"/>
              <a:t>Number of CPUs	32-bit computer	64-bit computer</a:t>
            </a:r>
          </a:p>
          <a:p>
            <a:r>
              <a:rPr lang="en-US" dirty="0"/>
              <a:t>&lt;= 4 processors	256			512</a:t>
            </a:r>
          </a:p>
          <a:p>
            <a:r>
              <a:rPr lang="en-US" dirty="0"/>
              <a:t>8 processors		288			576</a:t>
            </a:r>
          </a:p>
          <a:p>
            <a:r>
              <a:rPr lang="en-US" dirty="0"/>
              <a:t>16 processors		352			704</a:t>
            </a:r>
          </a:p>
          <a:p>
            <a:r>
              <a:rPr lang="en-US" dirty="0"/>
              <a:t>32 processors		480			960</a:t>
            </a:r>
          </a:p>
          <a:p>
            <a:pPr>
              <a:defRPr/>
            </a:pPr>
            <a:r>
              <a:rPr lang="en-US" b="1" dirty="0"/>
              <a:t>Caution:</a:t>
            </a:r>
            <a:r>
              <a:rPr lang="en-US" dirty="0"/>
              <a:t> We recommend 1,024 as the maximum for 32-bit SQL Server. </a:t>
            </a:r>
          </a:p>
          <a:p>
            <a:r>
              <a:rPr lang="en-US" b="1" dirty="0"/>
              <a:t>Additional Reading:</a:t>
            </a:r>
          </a:p>
          <a:p>
            <a:r>
              <a:rPr lang="en-US" dirty="0"/>
              <a:t>SQL Server Batch or Task Scheduling (</a:t>
            </a:r>
            <a:r>
              <a:rPr lang="en-US" dirty="0">
                <a:hlinkClick r:id="rId3"/>
              </a:rPr>
              <a:t>http://msdn.microsoft.com/en-us/library/ms189267.aspx</a:t>
            </a:r>
            <a:r>
              <a:rPr lang="en-US" dirty="0"/>
              <a:t>)</a:t>
            </a:r>
          </a:p>
          <a:p>
            <a:r>
              <a:rPr lang="en-US" dirty="0"/>
              <a:t>Thread and Task Architecture (</a:t>
            </a:r>
            <a:r>
              <a:rPr lang="en-US" dirty="0">
                <a:hlinkClick r:id="rId4"/>
              </a:rPr>
              <a:t>http://msdn.microsoft.com/en-us/library/ms176043.aspx</a:t>
            </a:r>
            <a:r>
              <a:rPr lang="en-US" dirty="0"/>
              <a:t>)</a:t>
            </a:r>
          </a:p>
          <a:p>
            <a:pPr>
              <a:defRPr/>
            </a:pPr>
            <a:r>
              <a:rPr lang="en-US" dirty="0"/>
              <a:t>Configure the max worker threads Server Configuration Option (</a:t>
            </a:r>
            <a:r>
              <a:rPr lang="en-US" dirty="0">
                <a:hlinkClick r:id="rId5"/>
              </a:rPr>
              <a:t>http://msdn.microsoft.com/en-us/library/ms190219.aspx</a:t>
            </a:r>
            <a:r>
              <a:rPr lang="en-US" dirty="0"/>
              <a:t>)</a:t>
            </a:r>
            <a:endParaRPr lang="en-US" b="1" dirty="0"/>
          </a:p>
          <a:p>
            <a:r>
              <a:rPr lang="en-US" dirty="0"/>
              <a:t>How To Diagnose and Correct Errors 17883, 17884, 17887, and 17888 (</a:t>
            </a:r>
            <a:r>
              <a:rPr lang="pt-PT" dirty="0">
                <a:hlinkClick r:id="rId6"/>
              </a:rPr>
              <a:t>http://technet.microsoft.com/en-us/library/cc917684.aspx#XSLTsection129121120120</a:t>
            </a:r>
            <a:r>
              <a:rPr lang="pt-PT" dirty="0"/>
              <a:t>)</a:t>
            </a:r>
          </a:p>
          <a:p>
            <a:endParaRPr lang="en-GB" dirty="0"/>
          </a:p>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16</a:t>
            </a:fld>
            <a:endParaRPr lang="en-US"/>
          </a:p>
        </p:txBody>
      </p:sp>
      <p:sp>
        <p:nvSpPr>
          <p:cNvPr id="5" name="Rectangular Callout 4"/>
          <p:cNvSpPr/>
          <p:nvPr/>
        </p:nvSpPr>
        <p:spPr>
          <a:xfrm>
            <a:off x="4724400" y="3810000"/>
            <a:ext cx="2241235" cy="785037"/>
          </a:xfrm>
          <a:prstGeom prst="wedgeRectCallout">
            <a:avLst>
              <a:gd name="adj1" fmla="val -204115"/>
              <a:gd name="adj2" fmla="val 3495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suffer the correct word to use in this context or can this be reworded? </a:t>
            </a:r>
          </a:p>
        </p:txBody>
      </p:sp>
      <p:sp>
        <p:nvSpPr>
          <p:cNvPr id="6" name="Rectangular Callout 5"/>
          <p:cNvSpPr/>
          <p:nvPr/>
        </p:nvSpPr>
        <p:spPr>
          <a:xfrm>
            <a:off x="-1447800" y="4038600"/>
            <a:ext cx="2241235" cy="785037"/>
          </a:xfrm>
          <a:prstGeom prst="wedgeRectCallout">
            <a:avLst>
              <a:gd name="adj1" fmla="val 122276"/>
              <a:gd name="adj2" fmla="val 6354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Added a comma to improve readability. Please check for accuracy.</a:t>
            </a:r>
          </a:p>
        </p:txBody>
      </p:sp>
    </p:spTree>
    <p:extLst>
      <p:ext uri="{BB962C8B-B14F-4D97-AF65-F5344CB8AC3E}">
        <p14:creationId xmlns:p14="http://schemas.microsoft.com/office/powerpoint/2010/main" val="2745574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dirty="0"/>
              <a:t>Key Points:</a:t>
            </a:r>
          </a:p>
          <a:p>
            <a:r>
              <a:rPr lang="en-US" dirty="0"/>
              <a:t>Preemptive mode means non–cooperative. If a scheduler quantum time allocated to a particular thread is exceeded or if a high-priority task needs to be executed, then the operating</a:t>
            </a:r>
            <a:r>
              <a:rPr lang="en-US" baseline="0" dirty="0"/>
              <a:t> system </a:t>
            </a:r>
            <a:r>
              <a:rPr lang="en-US" dirty="0"/>
              <a:t>will interrupt the previous processes and</a:t>
            </a:r>
            <a:r>
              <a:rPr lang="en-US" baseline="0" dirty="0"/>
              <a:t> run </a:t>
            </a:r>
            <a:r>
              <a:rPr lang="en-US" dirty="0"/>
              <a:t>the high-priority task by maintaining a queue of suspended or runnable tasks. This is also the running mode of some low-level SQLOS actions, such as doing physical I/O, or running external code such as extended stored procedure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solidFill>
                  <a:srgbClr val="000000"/>
                </a:solidFill>
                <a:latin typeface="Segoe UI Light" panose="020B0502040204020203" pitchFamily="34" charset="0"/>
                <a:cs typeface="Segoe UI Light" panose="020B0502040204020203" pitchFamily="34" charset="0"/>
              </a:rPr>
              <a:t>Preemptive mode used in SQL Server for external code calls, CLR with an UNSAFE assemblies, APIs that could block for extended periods (example –extended stored procedures).</a:t>
            </a:r>
          </a:p>
          <a:p>
            <a:endParaRPr lang="en-US" dirty="0"/>
          </a:p>
          <a:p>
            <a:r>
              <a:rPr lang="en-US" dirty="0"/>
              <a:t>Non-preemptive mode means it is cooperative. The underlying operating system will not interrupt the currently running process, and instead SQL Server manages all thread priorities, voluntarily yielding when necessary.</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solidFill>
                  <a:srgbClr val="000000"/>
                </a:solidFill>
                <a:latin typeface="Segoe UI Light" panose="020B0502040204020203" pitchFamily="34" charset="0"/>
                <a:cs typeface="Segoe UI Light" panose="020B0502040204020203" pitchFamily="34" charset="0"/>
              </a:rPr>
              <a:t>SQL Server developers also programmed some predetermined voluntary yields to avoid starvation of other threads</a:t>
            </a:r>
          </a:p>
          <a:p>
            <a:endParaRPr lang="en-US" dirty="0"/>
          </a:p>
          <a:p>
            <a:r>
              <a:rPr lang="en-US" b="1" dirty="0"/>
              <a:t>Additional Reading:</a:t>
            </a:r>
          </a:p>
          <a:p>
            <a:r>
              <a:rPr lang="en-US" dirty="0"/>
              <a:t>How To Diagnose and Correct Errors 17883, 17884, 17887, and 17888 (</a:t>
            </a:r>
            <a:r>
              <a:rPr lang="en-US" dirty="0">
                <a:hlinkClick r:id="rId4"/>
              </a:rPr>
              <a:t>https://technet.microsoft.com/en-us/library/cc917684.aspx#XSLTsection129121120120</a:t>
            </a:r>
            <a:r>
              <a:rPr lang="en-US" dirty="0"/>
              <a:t>)</a:t>
            </a:r>
          </a:p>
          <a:p>
            <a:endParaRPr lang="en-GB"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30077030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QL Server Task Scheduling</a:t>
            </a:r>
          </a:p>
          <a:p>
            <a:r>
              <a:rPr lang="en-US" b="0" dirty="0"/>
              <a:t>To manage those tasks, we have schedulers within the SQLOS. We have one scheduler per core or</a:t>
            </a:r>
            <a:r>
              <a:rPr lang="en-US" b="0" baseline="0" dirty="0"/>
              <a:t> logical processor, what that means is if I have one quad core processor in my server internally, I have four user mode schedulers. These are schedulers that</a:t>
            </a:r>
            <a:r>
              <a:rPr lang="en-US" b="0" dirty="0"/>
              <a:t> are </a:t>
            </a:r>
            <a:r>
              <a:rPr lang="en-US" b="0" baseline="0" dirty="0"/>
              <a:t>used to execute user tasks. </a:t>
            </a:r>
            <a:r>
              <a:rPr lang="en-US" b="0" u="sng" baseline="0" dirty="0"/>
              <a:t>If the system is hyperthreaded, it will increase the number of user mode schedulers.</a:t>
            </a:r>
            <a:r>
              <a:rPr lang="en-US" b="0" baseline="0" dirty="0"/>
              <a:t> SQL Server sees it as an additional logical CPU. </a:t>
            </a:r>
            <a:endParaRPr lang="en-US" b="0" dirty="0"/>
          </a:p>
          <a:p>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SQL Server Task Scheduling handles scheduling tasks, I/O, and synchronization of other resources that tasks require during the scope of execution.</a:t>
            </a:r>
          </a:p>
          <a:p>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Work requests are balanced across schedulers based on the number of active tasks. So, when a new task comes into</a:t>
            </a:r>
            <a:r>
              <a:rPr lang="en-US" baseline="0" dirty="0"/>
              <a:t> SQL Server, it will be assigned to the scheduler that has the fewest number of active tasks. You may find that you have idle tasks laying around that are assigned to schedulers. Those are not considered when we are doing this load balancing. This is a real active task count so we have an even balance across the CP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QL Server Task Scheduling can be monitored by </a:t>
            </a:r>
            <a:r>
              <a:rPr lang="en-US" dirty="0"/>
              <a:t>using </a:t>
            </a:r>
            <a:r>
              <a:rPr lang="en-US" dirty="0" err="1"/>
              <a:t>sys.dm_os_schedulers</a:t>
            </a:r>
            <a:r>
              <a:rPr lang="en-US" dirty="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To give perspective on where the scheduler thing comes from,</a:t>
            </a:r>
            <a:r>
              <a:rPr lang="en-US" baseline="0" dirty="0"/>
              <a:t> back in the day when we had SQL Server 6.5, we relied almost entirely on the Windows operating system to schedule work for us. We eventually ran into bottlenecks because of</a:t>
            </a:r>
            <a:r>
              <a:rPr lang="en-US" dirty="0"/>
              <a:t> </a:t>
            </a:r>
            <a:r>
              <a:rPr lang="en-US" baseline="0" dirty="0"/>
              <a:t>this and we would see that the CPUs were tasked to do too much work, which resulted in the phenomenon called </a:t>
            </a:r>
            <a:r>
              <a:rPr lang="en-US" i="1" baseline="0" dirty="0"/>
              <a:t>context switching</a:t>
            </a:r>
            <a:r>
              <a:rPr lang="en-US" baseline="0" dirty="0"/>
              <a:t>. Context switching essentially means that the CPU is spending too much time switching between tasks and is not really doing anything useful.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In SQL Server 2000, we introduced the UMS (User Mode Scheduler), which was an early version of the SQLOS. The UMS had the main purpose of trying to make sure that we had only so many active tasks as can be handled by the CPUs. We found that performance was improved in doing this on multi-processor machines. This also maintained some additional context. We maintained context inside the SQL Server scheduler so those context switches do not have as dramatic of an effec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defTabSz="914400">
              <a:lnSpc>
                <a:spcPct val="100000"/>
              </a:lnSpc>
              <a:spcAft>
                <a:spcPts val="0"/>
              </a:spcAft>
              <a:defRPr/>
            </a:pPr>
            <a:r>
              <a:rPr lang="en-US" dirty="0"/>
              <a:t>The key point is that the operating system is a preemptive scheduler at its level and could switch SQL Server threads out. We try to prevent that by yielding the CPU. This means that when a task completes to a certain extent, it will yield the CPU and give way to whatever else that could be scheduled on the same CPU. </a:t>
            </a:r>
          </a:p>
          <a:p>
            <a:pPr defTabSz="914400">
              <a:lnSpc>
                <a:spcPct val="100000"/>
              </a:lnSpc>
              <a:spcAft>
                <a:spcPts val="0"/>
              </a:spcAft>
              <a:defRPr/>
            </a:pPr>
            <a:endParaRPr lang="en-US" dirty="0"/>
          </a:p>
          <a:p>
            <a:pPr defTabSz="914400">
              <a:lnSpc>
                <a:spcPct val="100000"/>
              </a:lnSpc>
              <a:spcAft>
                <a:spcPts val="0"/>
              </a:spcAft>
              <a:defRPr/>
            </a:pPr>
            <a:r>
              <a:rPr lang="en-US" dirty="0"/>
              <a:t>We have come a long way since the early days of scheduling, we do still rely on the operating system for some low-level scheduling, but SQL Server does its own yielding to make sure tasks get the time they need and we avoid CPU bottlenecks. </a:t>
            </a:r>
          </a:p>
          <a:p>
            <a:endParaRPr lang="en-US" b="1" dirty="0"/>
          </a:p>
          <a:p>
            <a:r>
              <a:rPr lang="en-US" b="1" dirty="0"/>
              <a:t>Key Points:</a:t>
            </a:r>
          </a:p>
          <a:p>
            <a:r>
              <a:rPr lang="en-US" dirty="0"/>
              <a:t>SQL Server will create one internal scheduler for each CPU (core or logical processor) that is detected. Work requests that need to be performed by SQL Server will be load-balanced across all the schedulers based on an internal calculation called </a:t>
            </a:r>
            <a:r>
              <a:rPr lang="en-US" i="1" dirty="0"/>
              <a:t>load factor</a:t>
            </a:r>
            <a:r>
              <a:rPr lang="en-US" dirty="0"/>
              <a:t>. When a task is enqueued on a scheduler, the load factor is increased. When a task is completed, the load factor is decreased. In this way, SQL Server can help ensure a balanced workload across all the CPUs.</a:t>
            </a:r>
          </a:p>
          <a:p>
            <a:endParaRPr lang="en-US" dirty="0"/>
          </a:p>
          <a:p>
            <a:r>
              <a:rPr lang="en-US" dirty="0"/>
              <a:t>While there is one scheduler per CPU, a scheduler is not necessarily bound to a particular CPU. After the thread has been handed off to the operating system by the scheduler, it will enter the operating system processor queue like any other process. The default behavior is to use all available CPUs and allow the operating system to balance the threads accordingly, but this can be changed by adjusting the processor affinity through the PROCESS AFFINITY server configuration.</a:t>
            </a:r>
          </a:p>
          <a:p>
            <a:endParaRPr lang="en-US" dirty="0"/>
          </a:p>
          <a:p>
            <a:r>
              <a:rPr lang="en-US" b="1" dirty="0"/>
              <a:t>Additional Reading:</a:t>
            </a:r>
          </a:p>
          <a:p>
            <a:r>
              <a:rPr lang="en-US" i="1" dirty="0"/>
              <a:t>ALTER SERVER CONFIGURATION (Transact-SQL)</a:t>
            </a:r>
          </a:p>
          <a:p>
            <a:r>
              <a:rPr lang="en-US" dirty="0">
                <a:hlinkClick r:id="rId4"/>
              </a:rPr>
              <a:t>http://msdn.microsoft.com/en-us/library/ee210585.aspx</a:t>
            </a:r>
            <a:endParaRPr lang="en-US" dirty="0"/>
          </a:p>
          <a:p>
            <a:endParaRPr lang="en-US" dirty="0"/>
          </a:p>
          <a:p>
            <a:r>
              <a:rPr lang="en-US" i="1" dirty="0"/>
              <a:t>affinity mask Server Configuration Option</a:t>
            </a:r>
          </a:p>
          <a:p>
            <a:r>
              <a:rPr lang="en-US" dirty="0">
                <a:hlinkClick r:id="rId5"/>
              </a:rPr>
              <a:t>http://msdn.microsoft.com/en-us/library/ms187104.aspx</a:t>
            </a:r>
            <a:endParaRPr lang="en-US" dirty="0"/>
          </a:p>
          <a:p>
            <a:endParaRPr lang="en-US" dirty="0"/>
          </a:p>
          <a:p>
            <a:r>
              <a:rPr lang="en-US" dirty="0"/>
              <a:t>SQL Server 2016 Scheduler Changes</a:t>
            </a:r>
          </a:p>
          <a:p>
            <a:r>
              <a:rPr lang="en-US" dirty="0">
                <a:hlinkClick r:id="rId6"/>
              </a:rPr>
              <a:t>https://docs.microsoft.com/en-us/archive/blogs/bobsql/sql-2016-it-just-runs-faster-updated-scheduling-algorithms</a:t>
            </a:r>
            <a:endParaRPr lang="en-US" dirty="0"/>
          </a:p>
          <a:p>
            <a:endParaRPr lang="en-US" dirty="0"/>
          </a:p>
          <a:p>
            <a:r>
              <a:rPr lang="en-US" dirty="0">
                <a:hlinkClick r:id="rId7"/>
              </a:rPr>
              <a:t>https://techcommunity.microsoft.com/t5/sql-server/sql-server-2019-intelligent-performance-worker-migration/ba-p/939610</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882" b="0" i="0" kern="1200" baseline="0" dirty="0">
                <a:solidFill>
                  <a:schemeClr val="tx1"/>
                </a:solidFill>
                <a:effectLst/>
                <a:latin typeface="+mn-lt"/>
                <a:ea typeface="+mn-ea"/>
                <a:cs typeface="+mn-cs"/>
              </a:rPr>
              <a:t>Worker migration allows an idle scheduler to migrate a worker from the runnable queue of another scheduler on the same NUMA node and immediately resume the task of the migrated worker. This enhancement provides more balanced CPU usage in situations where long-running tasks happen to be assigned to the same scheduler.</a:t>
            </a:r>
            <a:endParaRPr lang="en-US" baseline="0"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18</a:t>
            </a:fld>
            <a:endParaRPr lang="en-US"/>
          </a:p>
        </p:txBody>
      </p:sp>
      <p:sp>
        <p:nvSpPr>
          <p:cNvPr id="6" name="Rectangular Callout 5"/>
          <p:cNvSpPr/>
          <p:nvPr/>
        </p:nvSpPr>
        <p:spPr>
          <a:xfrm>
            <a:off x="6331057" y="3304929"/>
            <a:ext cx="2241235" cy="1318437"/>
          </a:xfrm>
          <a:prstGeom prst="wedgeRectCallout">
            <a:avLst>
              <a:gd name="adj1" fmla="val -172076"/>
              <a:gd name="adj2" fmla="val 4857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avoid using first person “we”, “I”, or “our”.  Always use “you” or “Microsoft” if that is applicable. Please check for this globally. </a:t>
            </a:r>
          </a:p>
        </p:txBody>
      </p:sp>
      <p:sp>
        <p:nvSpPr>
          <p:cNvPr id="7" name="Rectangular Callout 6"/>
          <p:cNvSpPr/>
          <p:nvPr/>
        </p:nvSpPr>
        <p:spPr>
          <a:xfrm>
            <a:off x="1595879" y="3812955"/>
            <a:ext cx="1860235" cy="528108"/>
          </a:xfrm>
          <a:prstGeom prst="wedgeRectCallout">
            <a:avLst>
              <a:gd name="adj1" fmla="val 48438"/>
              <a:gd name="adj2" fmla="val 12856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hange to perform</a:t>
            </a:r>
          </a:p>
        </p:txBody>
      </p:sp>
      <p:sp>
        <p:nvSpPr>
          <p:cNvPr id="10" name="Rectangular Callout 9"/>
          <p:cNvSpPr/>
          <p:nvPr/>
        </p:nvSpPr>
        <p:spPr>
          <a:xfrm>
            <a:off x="6483457" y="4724401"/>
            <a:ext cx="2203343" cy="1752600"/>
          </a:xfrm>
          <a:prstGeom prst="wedgeRectCallout">
            <a:avLst>
              <a:gd name="adj1" fmla="val -165456"/>
              <a:gd name="adj2" fmla="val 61056"/>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This entire section has a very conversational tone, which is not the norm for Microsoft courseware. Please revisit the notes section to see if the informal tone can be reduced. </a:t>
            </a:r>
          </a:p>
        </p:txBody>
      </p:sp>
      <p:sp>
        <p:nvSpPr>
          <p:cNvPr id="11" name="Rectangular Callout 10"/>
          <p:cNvSpPr/>
          <p:nvPr/>
        </p:nvSpPr>
        <p:spPr>
          <a:xfrm>
            <a:off x="6467183" y="6629400"/>
            <a:ext cx="2203343" cy="1752600"/>
          </a:xfrm>
          <a:prstGeom prst="wedgeRectCallout">
            <a:avLst>
              <a:gd name="adj1" fmla="val -169275"/>
              <a:gd name="adj2" fmla="val -328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UMS is not listed as an approved acronym in Term Studio. Please check if you still want to sue it and if the target audience would understand it.</a:t>
            </a:r>
          </a:p>
        </p:txBody>
      </p:sp>
      <p:sp>
        <p:nvSpPr>
          <p:cNvPr id="12" name="Rectangular Callout 11"/>
          <p:cNvSpPr/>
          <p:nvPr/>
        </p:nvSpPr>
        <p:spPr>
          <a:xfrm>
            <a:off x="526943" y="5410200"/>
            <a:ext cx="2203343" cy="1752600"/>
          </a:xfrm>
          <a:prstGeom prst="wedgeRectCallout">
            <a:avLst>
              <a:gd name="adj1" fmla="val -22368"/>
              <a:gd name="adj2" fmla="val 7482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onsider changing to “The main purpose of UMS was to make sure that the number of active tasks was limited to what can be handled by the CPUs.”</a:t>
            </a:r>
          </a:p>
        </p:txBody>
      </p:sp>
    </p:spTree>
    <p:extLst>
      <p:ext uri="{BB962C8B-B14F-4D97-AF65-F5344CB8AC3E}">
        <p14:creationId xmlns:p14="http://schemas.microsoft.com/office/powerpoint/2010/main" val="26187540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r>
              <a:rPr lang="en-US" dirty="0"/>
              <a:t>SQL Server has to handle a large number of requests with limited resources. Therefore, waiting and queuing is how SQL Server handles the requests.</a:t>
            </a:r>
          </a:p>
          <a:p>
            <a:r>
              <a:rPr lang="en-US" dirty="0"/>
              <a:t>Waits and Queues is a methodology of tuning by focusing on where SQL Server is spending most of its time waiting. Analyzing a task as it moves through the various queues in the scheduler reveals a lot about where it is spending its time.</a:t>
            </a:r>
          </a:p>
          <a:p>
            <a:pPr lvl="0"/>
            <a:endParaRPr lang="en-US" b="1" dirty="0"/>
          </a:p>
          <a:p>
            <a:r>
              <a:rPr lang="en-US" sz="900" kern="1200" dirty="0">
                <a:solidFill>
                  <a:schemeClr val="tx1"/>
                </a:solidFill>
                <a:effectLst/>
                <a:latin typeface="Segoe UI Light" pitchFamily="34" charset="0"/>
                <a:ea typeface="+mn-ea"/>
                <a:cs typeface="+mn-cs"/>
              </a:rPr>
              <a:t>As an application, SQL Server may request system resources as it executes a user query and waits for its request to be completed. </a:t>
            </a:r>
            <a:r>
              <a:rPr lang="en-US" sz="900" b="1" kern="1200" dirty="0">
                <a:solidFill>
                  <a:schemeClr val="tx1"/>
                </a:solidFill>
                <a:effectLst/>
                <a:latin typeface="Segoe UI Light" pitchFamily="34" charset="0"/>
                <a:ea typeface="+mn-ea"/>
                <a:cs typeface="+mn-cs"/>
              </a:rPr>
              <a:t>Waits</a:t>
            </a:r>
            <a:r>
              <a:rPr lang="en-US" sz="900" kern="1200" dirty="0">
                <a:solidFill>
                  <a:schemeClr val="tx1"/>
                </a:solidFill>
                <a:effectLst/>
                <a:latin typeface="Segoe UI Light" pitchFamily="34" charset="0"/>
                <a:ea typeface="+mn-ea"/>
                <a:cs typeface="+mn-cs"/>
              </a:rPr>
              <a:t> are represented by SQL Server wait statistics. Since SQL Server 2005, SQL Server tracks wait information any time that a user connection or </a:t>
            </a:r>
            <a:r>
              <a:rPr lang="en-US" sz="900" kern="1200" dirty="0" err="1">
                <a:solidFill>
                  <a:schemeClr val="tx1"/>
                </a:solidFill>
                <a:effectLst/>
                <a:latin typeface="Segoe UI Light" pitchFamily="34" charset="0"/>
                <a:ea typeface="+mn-ea"/>
                <a:cs typeface="+mn-cs"/>
              </a:rPr>
              <a:t>session_id</a:t>
            </a:r>
            <a:r>
              <a:rPr lang="en-US" sz="900" kern="1200" dirty="0">
                <a:solidFill>
                  <a:schemeClr val="tx1"/>
                </a:solidFill>
                <a:effectLst/>
                <a:latin typeface="Segoe UI Light" pitchFamily="34" charset="0"/>
                <a:ea typeface="+mn-ea"/>
                <a:cs typeface="+mn-cs"/>
              </a:rPr>
              <a:t> is waiting. This wait information is summarized and categorized across all connections so that a performance profile can be obtained for a given work load. Therefore, SQL Server wait types identify and categorize user (or thread) waits from an application workload or user perspectiv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Queues measure system resources and utilization. The </a:t>
            </a:r>
            <a:r>
              <a:rPr lang="en-US" sz="900" b="1" kern="1200" dirty="0">
                <a:solidFill>
                  <a:schemeClr val="tx1"/>
                </a:solidFill>
                <a:effectLst/>
                <a:latin typeface="Segoe UI Light" pitchFamily="34" charset="0"/>
                <a:ea typeface="+mn-ea"/>
                <a:cs typeface="+mn-cs"/>
              </a:rPr>
              <a:t>queues</a:t>
            </a:r>
            <a:r>
              <a:rPr lang="en-US" sz="900" kern="1200" dirty="0">
                <a:solidFill>
                  <a:schemeClr val="tx1"/>
                </a:solidFill>
                <a:effectLst/>
                <a:latin typeface="Segoe UI Light" pitchFamily="34" charset="0"/>
                <a:ea typeface="+mn-ea"/>
                <a:cs typeface="+mn-cs"/>
              </a:rPr>
              <a:t> part of performance is represented by Performance Monitor objects and counters and other sources of information. Performance Monitor counters measure various aspects of performance such as transfer rates for disks or the processor time consumed. SQL Server object counters are exposed to Performance Monitor using the dynamic management view (DMV) </a:t>
            </a:r>
            <a:r>
              <a:rPr lang="en-US" sz="900" i="1" kern="1200" dirty="0" err="1">
                <a:solidFill>
                  <a:schemeClr val="tx1"/>
                </a:solidFill>
                <a:effectLst/>
                <a:latin typeface="Segoe UI Light" pitchFamily="34" charset="0"/>
                <a:ea typeface="+mn-ea"/>
                <a:cs typeface="+mn-cs"/>
              </a:rPr>
              <a:t>sys.dm_os_performance_counters</a:t>
            </a:r>
            <a:r>
              <a:rPr lang="en-US" sz="900" i="1" kern="1200" dirty="0">
                <a:solidFill>
                  <a:schemeClr val="tx1"/>
                </a:solidFill>
                <a:effectLst/>
                <a:latin typeface="Segoe UI Light" pitchFamily="34" charset="0"/>
                <a:ea typeface="+mn-ea"/>
                <a:cs typeface="+mn-cs"/>
              </a:rPr>
              <a:t>.</a:t>
            </a:r>
            <a:r>
              <a:rPr lang="en-US" sz="900" kern="1200" dirty="0">
                <a:solidFill>
                  <a:schemeClr val="tx1"/>
                </a:solidFill>
                <a:effectLst/>
                <a:latin typeface="Segoe UI Light" pitchFamily="34" charset="0"/>
                <a:ea typeface="+mn-ea"/>
                <a:cs typeface="+mn-cs"/>
              </a:rPr>
              <a:t> Thus, Performance Monitor counters show performance from a resource point of view.  </a:t>
            </a:r>
          </a:p>
          <a:p>
            <a:pPr lvl="0"/>
            <a:endParaRPr lang="en-US" b="1" dirty="0"/>
          </a:p>
          <a:p>
            <a:pPr lvl="0"/>
            <a:endParaRPr lang="en-US" b="1" dirty="0"/>
          </a:p>
          <a:p>
            <a:pPr lvl="0"/>
            <a:endParaRPr lang="en-US" b="1" dirty="0"/>
          </a:p>
          <a:p>
            <a:pPr lvl="0"/>
            <a:r>
              <a:rPr lang="en-US" b="1" dirty="0"/>
              <a:t>Additional Reading:</a:t>
            </a:r>
          </a:p>
          <a:p>
            <a:pPr lvl="0"/>
            <a:r>
              <a:rPr lang="en-US" dirty="0"/>
              <a:t>SQL Server Performance Tuning – Waits and Queues (</a:t>
            </a:r>
            <a:r>
              <a:rPr lang="en-US" dirty="0">
                <a:hlinkClick r:id="rId4"/>
              </a:rPr>
              <a:t>http://technet.microsoft.com/en-us/library/cc966413.aspx</a:t>
            </a:r>
            <a:r>
              <a:rPr lang="en-US" dirty="0"/>
              <a:t>)</a:t>
            </a:r>
          </a:p>
          <a:p>
            <a:pPr lvl="0"/>
            <a:r>
              <a:rPr lang="en-US" dirty="0"/>
              <a:t>SQL Server Performance Tuning Using Wait Statistics: A Beginner’s Guide (</a:t>
            </a:r>
            <a:r>
              <a:rPr lang="en-US" dirty="0">
                <a:hlinkClick r:id="rId5"/>
              </a:rPr>
              <a:t>https://www.sqlskills.com/help/sql-server-performance-tuning-using-wait-statistics</a:t>
            </a:r>
            <a:r>
              <a:rPr lang="en-US" dirty="0"/>
              <a:t>)</a:t>
            </a:r>
          </a:p>
          <a:p>
            <a:endParaRPr lang="en-GB" dirty="0"/>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Tree>
    <p:extLst>
      <p:ext uri="{BB962C8B-B14F-4D97-AF65-F5344CB8AC3E}">
        <p14:creationId xmlns:p14="http://schemas.microsoft.com/office/powerpoint/2010/main" val="41303969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8C86E77-7BC2-462A-8008-2CD2CA1D8D03}"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987B</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SQL Server Architecture, Scheduling, and Waits</a:t>
            </a:r>
          </a:p>
        </p:txBody>
      </p:sp>
    </p:spTree>
    <p:extLst>
      <p:ext uri="{BB962C8B-B14F-4D97-AF65-F5344CB8AC3E}">
        <p14:creationId xmlns:p14="http://schemas.microsoft.com/office/powerpoint/2010/main" val="7519447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dirty="0"/>
              <a:t>Additional Reading:</a:t>
            </a:r>
          </a:p>
          <a:p>
            <a:r>
              <a:rPr lang="en-US" dirty="0"/>
              <a:t>How To Diagnose and Correct Errors 17883, 17884, 17887, and 17888 (</a:t>
            </a:r>
            <a:r>
              <a:rPr lang="pt-PT" dirty="0">
                <a:hlinkClick r:id="rId3"/>
              </a:rPr>
              <a:t>http://technet.microsoft.com/en-us/library/cc917684.aspx#XSLTsection129121120120</a:t>
            </a:r>
            <a:r>
              <a:rPr lang="pt-PT" dirty="0"/>
              <a:t>)</a:t>
            </a:r>
          </a:p>
          <a:p>
            <a:endParaRPr lang="en-GB"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solidFill>
                  <a:schemeClr val="tx1"/>
                </a:solidFill>
                <a:cs typeface="Segoe UI Light" panose="020B0502040204020203" pitchFamily="34" charset="0"/>
              </a:rPr>
              <a:t>One cause of time-outs</a:t>
            </a:r>
          </a:p>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9543898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01061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a:p>
        </p:txBody>
      </p:sp>
    </p:spTree>
    <p:extLst>
      <p:ext uri="{BB962C8B-B14F-4D97-AF65-F5344CB8AC3E}">
        <p14:creationId xmlns:p14="http://schemas.microsoft.com/office/powerpoint/2010/main" val="38932709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xample:</a:t>
            </a:r>
            <a:r>
              <a:rPr lang="en-US" dirty="0"/>
              <a:t> Two Logical Processors</a:t>
            </a:r>
          </a:p>
          <a:p>
            <a:endParaRPr lang="en-US" dirty="0"/>
          </a:p>
          <a:p>
            <a:pPr marL="232418" lvl="0" indent="-232418">
              <a:defRPr/>
            </a:pPr>
            <a:r>
              <a:rPr lang="en-US" b="1" dirty="0">
                <a:solidFill>
                  <a:prstClr val="black"/>
                </a:solidFill>
              </a:rPr>
              <a:t>Key Points</a:t>
            </a:r>
            <a:r>
              <a:rPr lang="en-US" dirty="0">
                <a:solidFill>
                  <a:prstClr val="black"/>
                </a:solidFill>
              </a:rPr>
              <a:t>:</a:t>
            </a:r>
          </a:p>
          <a:p>
            <a:pPr lvl="0">
              <a:spcAft>
                <a:spcPts val="600"/>
              </a:spcAft>
              <a:defRPr/>
            </a:pPr>
            <a:r>
              <a:rPr lang="en-US" dirty="0">
                <a:solidFill>
                  <a:prstClr val="black"/>
                </a:solidFill>
              </a:rPr>
              <a:t>SQL Server will create a scheduler for each logical CPU that is available on the system. Each one of these schedulers is responsible for managing the active tasks that are assigned to it and ensuring that one thread is always in the Running position, that is, it is being submitted to the operating system for execution on a CPU. </a:t>
            </a:r>
          </a:p>
          <a:p>
            <a:pPr lvl="0">
              <a:spcAft>
                <a:spcPts val="600"/>
              </a:spcAft>
              <a:defRPr/>
            </a:pPr>
            <a:r>
              <a:rPr lang="en-US" dirty="0">
                <a:solidFill>
                  <a:prstClr val="black"/>
                </a:solidFill>
              </a:rPr>
              <a:t>Because each scheduler represents one CPU, there can only be one task in the Running position at any given time. The other tasks will be in either the Runnable Queue (with a status of Runnable) or the Wait Queue (with a status of Suspended). Tasks in the Runnable Queue are experiencing Signal Waits. They are ready to be sent out to the CPU for execution, but are waiting for the Running position to be available. Tasks in the Wait Queue are waiting for some resource other than CPU. When a task is in the Wait Queue, it will have a Wait Type and a Wait Resource that indicate what it is waiting for.</a:t>
            </a:r>
          </a:p>
          <a:p>
            <a:pPr lvl="0">
              <a:spcAft>
                <a:spcPts val="600"/>
              </a:spcAft>
              <a:defRPr/>
            </a:pPr>
            <a:endParaRPr lang="en-US" dirty="0">
              <a:solidFill>
                <a:prstClr val="black"/>
              </a:solidFill>
            </a:endParaRPr>
          </a:p>
          <a:p>
            <a:pPr marL="232418" lvl="0" indent="-232418">
              <a:defRPr/>
            </a:pPr>
            <a:r>
              <a:rPr lang="en-US" b="1" dirty="0">
                <a:solidFill>
                  <a:prstClr val="black"/>
                </a:solidFill>
              </a:rPr>
              <a:t>Additional Reading:</a:t>
            </a:r>
          </a:p>
          <a:p>
            <a:r>
              <a:rPr lang="en-US" dirty="0">
                <a:solidFill>
                  <a:prstClr val="black"/>
                </a:solidFill>
              </a:rPr>
              <a:t>SQL Server Performance Tuning – Waits and Queues (</a:t>
            </a:r>
            <a:r>
              <a:rPr lang="en-US" dirty="0">
                <a:solidFill>
                  <a:prstClr val="black"/>
                </a:solidFill>
                <a:hlinkClick r:id="rId4"/>
              </a:rPr>
              <a:t>http://technet.microsoft.com/en-us/library/cc966413.aspx</a:t>
            </a:r>
            <a:r>
              <a:rPr lang="en-US" dirty="0">
                <a:solidFill>
                  <a:prstClr val="black"/>
                </a:solidFill>
              </a:rPr>
              <a:t>)</a:t>
            </a:r>
            <a:endParaRPr lang="en-US" b="1" dirty="0"/>
          </a:p>
          <a:p>
            <a:r>
              <a:rPr lang="pt-PT" dirty="0"/>
              <a:t>sys.dm_os_wait_stats </a:t>
            </a:r>
            <a:r>
              <a:rPr lang="en-US" dirty="0"/>
              <a:t>(</a:t>
            </a:r>
            <a:r>
              <a:rPr lang="en-US" dirty="0">
                <a:hlinkClick r:id="rId5"/>
              </a:rPr>
              <a:t>https://msdn.microsoft.com/en-us/library/ms179984.aspx</a:t>
            </a:r>
            <a:r>
              <a:rPr lang="en-US" dirty="0"/>
              <a:t>)</a:t>
            </a:r>
          </a:p>
          <a:p>
            <a:endParaRPr lang="en-GB" dirty="0"/>
          </a:p>
          <a:p>
            <a:endParaRPr lang="en-US"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Rectangular Callout 8"/>
          <p:cNvSpPr/>
          <p:nvPr/>
        </p:nvSpPr>
        <p:spPr>
          <a:xfrm>
            <a:off x="-1534886" y="533399"/>
            <a:ext cx="2220686" cy="2002971"/>
          </a:xfrm>
          <a:prstGeom prst="wedgeRectCallout">
            <a:avLst>
              <a:gd name="adj1" fmla="val 82723"/>
              <a:gd name="adj2" fmla="val 1793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a:t>GLOBAL: Do not capitalize generic terms. Please note that we do not capitalize terms unless they are from the UI or are feature or product names. Please consider lowercasing such terms throughout this document.</a:t>
            </a:r>
            <a:endParaRPr lang="en-US" sz="1200"/>
          </a:p>
        </p:txBody>
      </p:sp>
    </p:spTree>
    <p:extLst>
      <p:ext uri="{BB962C8B-B14F-4D97-AF65-F5344CB8AC3E}">
        <p14:creationId xmlns:p14="http://schemas.microsoft.com/office/powerpoint/2010/main" val="17766909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26714309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Additional Reading:</a:t>
            </a:r>
          </a:p>
          <a:p>
            <a:pPr marL="0" marR="0" lvl="0" indent="0" algn="l" defTabSz="457200" rtl="0" eaLnBrk="1" fontAlgn="auto" latinLnBrk="0" hangingPunct="1">
              <a:lnSpc>
                <a:spcPct val="100000"/>
              </a:lnSpc>
              <a:spcBef>
                <a:spcPts val="0"/>
              </a:spcBef>
              <a:spcAft>
                <a:spcPts val="0"/>
              </a:spcAft>
              <a:buClrTx/>
              <a:buSzTx/>
              <a:buFontTx/>
              <a:buNone/>
              <a:tabLst/>
              <a:defRPr/>
            </a:pPr>
            <a:r>
              <a:rPr lang="pt-PT" b="1"/>
              <a:t>sys.dm_os_wait_stats</a:t>
            </a:r>
            <a:r>
              <a:rPr lang="pt-PT"/>
              <a:t> - </a:t>
            </a:r>
            <a:r>
              <a:rPr lang="en-US" b="0" i="0" u="none">
                <a:solidFill>
                  <a:schemeClr val="bg1"/>
                </a:solidFill>
                <a:latin typeface="Segoe UI Light" panose="020B0502040204020203" pitchFamily="34" charset="0"/>
                <a:cs typeface="Segoe UI Light" panose="020B0502040204020203" pitchFamily="34" charset="0"/>
              </a:rPr>
              <a:t>Main source of information on waits</a:t>
            </a:r>
            <a:endParaRPr lang="en-US">
              <a:solidFill>
                <a:schemeClr val="bg1"/>
              </a:solidFill>
              <a:latin typeface="Segoe UI Light" panose="020B0502040204020203" pitchFamily="34" charset="0"/>
              <a:cs typeface="Segoe UI Light" panose="020B0502040204020203" pitchFamily="34" charset="0"/>
            </a:endParaRPr>
          </a:p>
          <a:p>
            <a:r>
              <a:rPr lang="en-US"/>
              <a:t>(</a:t>
            </a:r>
            <a:r>
              <a:rPr lang="en-US">
                <a:hlinkClick r:id="rId4"/>
              </a:rPr>
              <a:t>https://msdn.microsoft.com/en-us/library/ms179984.aspx</a:t>
            </a:r>
            <a:r>
              <a:rPr lang="en-US"/>
              <a:t>)</a:t>
            </a:r>
            <a:br>
              <a:rPr lang="en-US"/>
            </a:br>
            <a:endParaRPr lang="en-US"/>
          </a:p>
          <a:p>
            <a:pPr lvl="0">
              <a:defRPr/>
            </a:pPr>
            <a:r>
              <a:rPr lang="pt-PT" b="1"/>
              <a:t>sys.dm_os_waiting_tasks - </a:t>
            </a:r>
            <a:r>
              <a:rPr lang="en-US">
                <a:solidFill>
                  <a:schemeClr val="bg1"/>
                </a:solidFill>
                <a:latin typeface="Segoe UI Light" panose="020B0502040204020203" pitchFamily="34" charset="0"/>
                <a:cs typeface="Segoe UI Light" panose="020B0502040204020203" pitchFamily="34" charset="0"/>
              </a:rPr>
              <a:t>Includes session owning the task, the wait duration and type, information about blocking and the resource that is currently preventing the task from becoming runnable</a:t>
            </a:r>
          </a:p>
          <a:p>
            <a:pPr lvl="0">
              <a:defRPr/>
            </a:pPr>
            <a:r>
              <a:rPr lang="en-US"/>
              <a:t>(</a:t>
            </a:r>
            <a:r>
              <a:rPr lang="en-US">
                <a:hlinkClick r:id="rId5"/>
              </a:rPr>
              <a:t>https://msdn.microsoft.com/en-us/library/ms188743.aspx</a:t>
            </a:r>
            <a:r>
              <a:rPr lang="en-US"/>
              <a:t>)</a:t>
            </a:r>
          </a:p>
          <a:p>
            <a:pPr lvl="0">
              <a:defRPr/>
            </a:pPr>
            <a:endParaRPr lang="en-US"/>
          </a:p>
          <a:p>
            <a:pPr lvl="0">
              <a:defRPr/>
            </a:pPr>
            <a:r>
              <a:rPr lang="en-US" err="1"/>
              <a:t>sys.dm_exec_requests</a:t>
            </a:r>
            <a:r>
              <a:rPr lang="en-US"/>
              <a:t> </a:t>
            </a:r>
          </a:p>
          <a:p>
            <a:pPr lvl="0">
              <a:defRPr/>
            </a:pPr>
            <a:endParaRPr lang="en-US"/>
          </a:p>
          <a:p>
            <a:pPr lvl="0">
              <a:defRPr/>
            </a:pPr>
            <a:r>
              <a:rPr lang="en-US"/>
              <a:t>(</a:t>
            </a:r>
            <a:r>
              <a:rPr lang="en-US">
                <a:hlinkClick r:id="rId6"/>
              </a:rPr>
              <a:t>https://msdn.microsoft.com/library/ms177648.aspx</a:t>
            </a:r>
            <a:r>
              <a:rPr lang="en-US"/>
              <a:t>)</a:t>
            </a:r>
          </a:p>
          <a:p>
            <a:pPr lvl="0">
              <a:defRPr/>
            </a:pPr>
            <a:endParaRPr lang="en-US"/>
          </a:p>
          <a:p>
            <a:pPr lvl="0">
              <a:defRPr/>
            </a:pPr>
            <a:r>
              <a:rPr lang="en-US" b="1"/>
              <a:t>See all waits here: </a:t>
            </a:r>
            <a:r>
              <a:rPr lang="en-US">
                <a:hlinkClick r:id="rId7"/>
              </a:rPr>
              <a:t>http://blogs.msdn.com/b/psssql/archive/2009/11/03/the-sql-server-wait-type-repository.aspx</a:t>
            </a:r>
            <a:r>
              <a:rPr lang="en-US"/>
              <a:t> and </a:t>
            </a:r>
            <a:r>
              <a:rPr lang="en-US">
                <a:hlinkClick r:id="rId8"/>
              </a:rPr>
              <a:t>http://msdn.microsoft.com/en-us/library/ms179984.aspx</a:t>
            </a:r>
            <a:r>
              <a:rPr lang="en-US"/>
              <a:t> </a:t>
            </a:r>
          </a:p>
          <a:p>
            <a:endParaRPr lang="en-GB"/>
          </a:p>
          <a:p>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Tree>
    <p:extLst>
      <p:ext uri="{BB962C8B-B14F-4D97-AF65-F5344CB8AC3E}">
        <p14:creationId xmlns:p14="http://schemas.microsoft.com/office/powerpoint/2010/main" val="32718877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a:t>Key Points:</a:t>
            </a:r>
          </a:p>
          <a:p>
            <a:pPr>
              <a:defRPr/>
            </a:pPr>
            <a:r>
              <a:rPr lang="en-US"/>
              <a:t>Use sys.dm_os_waiting_tasks to show the waiter list at the current moment. sys.dm_exec_requests contains all requests (running, runnable, waiting) that are in-flight, and joining both these DMVs allows us to find what is causing blocking at a given point in time.</a:t>
            </a:r>
          </a:p>
          <a:p>
            <a:pPr>
              <a:defRPr/>
            </a:pPr>
            <a:endParaRPr lang="en-US"/>
          </a:p>
          <a:p>
            <a:pPr>
              <a:defRPr/>
            </a:pPr>
            <a:r>
              <a:rPr lang="en-US" b="1"/>
              <a:t>Additional Reading:</a:t>
            </a:r>
          </a:p>
          <a:p>
            <a:r>
              <a:rPr lang="en-US"/>
              <a:t>SQL Swiss Army Knife #11.1 - Locking, blocking and active transactions </a:t>
            </a:r>
            <a:r>
              <a:rPr lang="pt-PT"/>
              <a:t>(</a:t>
            </a:r>
            <a:r>
              <a:rPr lang="pt-PT">
                <a:hlinkClick r:id="rId3"/>
              </a:rPr>
              <a:t>http://blogs.msdn.com/b/blogdoezequiel/archive/2012/09/18/sql-swiss-army-knife-11-1-locking-blocking-and-active-transactions.aspx</a:t>
            </a:r>
            <a:r>
              <a:rPr lang="pt-PT"/>
              <a:t>)</a:t>
            </a:r>
          </a:p>
          <a:p>
            <a:endParaRPr lang="en-GB"/>
          </a:p>
          <a:p>
            <a:pPr lvl="0">
              <a:defRPr/>
            </a:pPr>
            <a:r>
              <a:rPr lang="en-US" b="1">
                <a:solidFill>
                  <a:prstClr val="black"/>
                </a:solidFill>
              </a:rPr>
              <a:t>Key Points</a:t>
            </a:r>
            <a:r>
              <a:rPr lang="en-US">
                <a:solidFill>
                  <a:prstClr val="black"/>
                </a:solidFill>
              </a:rPr>
              <a:t>:</a:t>
            </a:r>
          </a:p>
          <a:p>
            <a:pPr lvl="0">
              <a:defRPr/>
            </a:pPr>
            <a:r>
              <a:rPr lang="en-US">
                <a:solidFill>
                  <a:prstClr val="black"/>
                </a:solidFill>
              </a:rPr>
              <a:t>The overwhelming majority of scenarios we focus our attention on Resource waits, which may indicate bottlenecks that we have to deal with.</a:t>
            </a:r>
          </a:p>
          <a:p>
            <a:r>
              <a:rPr lang="en-US"/>
              <a:t>SQL Server bottlenecks may present themselves in different ways:</a:t>
            </a:r>
          </a:p>
          <a:p>
            <a:pPr marL="171450" indent="-171450">
              <a:buFont typeface="Arial" panose="020B0604020202020204" pitchFamily="34" charset="0"/>
              <a:buChar char="•"/>
            </a:pPr>
            <a:r>
              <a:rPr lang="en-US"/>
              <a:t>We might face CPU contention with high CPU consumption and this will have an effect on waits.</a:t>
            </a:r>
          </a:p>
          <a:p>
            <a:pPr marL="171450" indent="-171450">
              <a:buFont typeface="Arial" panose="020B0604020202020204" pitchFamily="34" charset="0"/>
              <a:buChar char="•"/>
            </a:pPr>
            <a:r>
              <a:rPr lang="en-US"/>
              <a:t>Or we might face a situation where available memory is low, also leading to specific wait types.</a:t>
            </a:r>
          </a:p>
          <a:p>
            <a:pPr marL="171450" indent="-171450">
              <a:buFont typeface="Arial" panose="020B0604020202020204" pitchFamily="34" charset="0"/>
              <a:buChar char="•"/>
            </a:pPr>
            <a:r>
              <a:rPr lang="en-US"/>
              <a:t>Disk I/O is also very important, because disk high latencies can slow down any and all operations in SQL Server, and there are specific waits that allow us to scope further actions.</a:t>
            </a:r>
          </a:p>
          <a:p>
            <a:pPr marL="171450" indent="-171450">
              <a:buFont typeface="Arial" panose="020B0604020202020204" pitchFamily="34" charset="0"/>
              <a:buChar char="•"/>
            </a:pPr>
            <a:r>
              <a:rPr lang="en-US"/>
              <a:t>Network I/O should not be overlooked. We might have low bandwidth available, or clients may not be consuming data as fast as SQL Server can provide it – all these have specific cumulative waits in SQL Server.</a:t>
            </a:r>
          </a:p>
          <a:p>
            <a:pPr marL="171450" indent="-171450">
              <a:buFont typeface="Arial" panose="020B0604020202020204" pitchFamily="34" charset="0"/>
              <a:buChar char="•"/>
            </a:pPr>
            <a:r>
              <a:rPr lang="en-US"/>
              <a:t>Then there is transactional locking and blocking, which is paramount for our workload performance, as it represents contention on queries.</a:t>
            </a:r>
          </a:p>
          <a:p>
            <a:r>
              <a:rPr lang="en-US"/>
              <a:t>The order listed above is not arbitrary. This is the order in which we usually start troubleshooting SQL Server bottlenecks.</a:t>
            </a:r>
          </a:p>
          <a:p>
            <a:endParaRPr lang="en-GB"/>
          </a:p>
          <a:p>
            <a:endParaRPr lang="en-US"/>
          </a:p>
          <a:p>
            <a:endParaRPr lang="en-US"/>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Rectangular Callout 7"/>
          <p:cNvSpPr/>
          <p:nvPr/>
        </p:nvSpPr>
        <p:spPr>
          <a:xfrm>
            <a:off x="-2286000" y="4953000"/>
            <a:ext cx="1753565" cy="1619555"/>
          </a:xfrm>
          <a:prstGeom prst="wedgeRectCallout">
            <a:avLst>
              <a:gd name="adj1" fmla="val 247124"/>
              <a:gd name="adj2" fmla="val -7154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prstClr val="white"/>
                </a:solidFill>
                <a:effectLst/>
                <a:uLnTx/>
                <a:uFillTx/>
                <a:latin typeface="Calibri"/>
                <a:ea typeface="+mn-ea"/>
                <a:cs typeface="+mn-cs"/>
              </a:rPr>
              <a:t>Please check if this should be the “waits” list</a:t>
            </a: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Rectangular Callout 8"/>
          <p:cNvSpPr/>
          <p:nvPr/>
        </p:nvSpPr>
        <p:spPr>
          <a:xfrm>
            <a:off x="-2819400" y="6572555"/>
            <a:ext cx="2286965" cy="1619555"/>
          </a:xfrm>
          <a:prstGeom prst="wedgeRectCallout">
            <a:avLst>
              <a:gd name="adj1" fmla="val 129214"/>
              <a:gd name="adj2" fmla="val -7997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prstClr val="white"/>
                </a:solidFill>
                <a:effectLst/>
                <a:uLnTx/>
                <a:uFillTx/>
                <a:latin typeface="Calibri"/>
                <a:ea typeface="+mn-ea"/>
                <a:cs typeface="+mn-cs"/>
              </a:rPr>
              <a:t>This sentence reads wrong. Consider changing to “Of all the scenarios that are available, we focus our attention on..”? </a:t>
            </a: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10" name="Rectangular Callout 9"/>
          <p:cNvSpPr/>
          <p:nvPr/>
        </p:nvSpPr>
        <p:spPr>
          <a:xfrm>
            <a:off x="7620000" y="5334000"/>
            <a:ext cx="2241235" cy="1318437"/>
          </a:xfrm>
          <a:prstGeom prst="wedgeRectCallout">
            <a:avLst>
              <a:gd name="adj1" fmla="val -267695"/>
              <a:gd name="adj2" fmla="val 10063"/>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Global: Please avoid using first person “we”, “I”, or “our”. Always use “you” or “Microsoft” if that is applicable. </a:t>
            </a:r>
          </a:p>
        </p:txBody>
      </p:sp>
    </p:spTree>
    <p:extLst>
      <p:ext uri="{BB962C8B-B14F-4D97-AF65-F5344CB8AC3E}">
        <p14:creationId xmlns:p14="http://schemas.microsoft.com/office/powerpoint/2010/main" val="21310893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58C86E77-7BC2-462A-8008-2CD2CA1D8D03}" type="slidenum">
              <a:rPr kumimoji="0" lang="en-GB"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27</a:t>
            </a:fld>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987B</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SQL Server Architecture, Scheduling, and Waits</a:t>
            </a:r>
          </a:p>
        </p:txBody>
      </p:sp>
    </p:spTree>
    <p:extLst>
      <p:ext uri="{BB962C8B-B14F-4D97-AF65-F5344CB8AC3E}">
        <p14:creationId xmlns:p14="http://schemas.microsoft.com/office/powerpoint/2010/main" val="22766595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It is possible to have more than one log file per database, but it is not recommended. </a:t>
            </a:r>
            <a:br>
              <a:rPr lang="en-US" dirty="0"/>
            </a:br>
            <a:r>
              <a:rPr lang="en-US" dirty="0"/>
              <a:t>As Log files are accessed sequentially (for both read and write operations), multiple log files will not provide any performance benefit.</a:t>
            </a: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7901614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ection describes the role of the </a:t>
            </a:r>
            <a:r>
              <a:rPr lang="en-US" b="1" dirty="0"/>
              <a:t>write-ahead transaction log </a:t>
            </a:r>
            <a:r>
              <a:rPr lang="en-US" dirty="0"/>
              <a:t>in recording data modifications to disk. SQL Server uses a write-ahead logging (WAL) algorithm, </a:t>
            </a:r>
            <a:r>
              <a:rPr lang="en-US" b="1" dirty="0"/>
              <a:t>which guarantees that no data modifications are written to disk before the associated log record is written to disk</a:t>
            </a:r>
            <a:r>
              <a:rPr lang="en-US" dirty="0"/>
              <a:t>. </a:t>
            </a:r>
            <a:r>
              <a:rPr lang="en-US" b="1" dirty="0"/>
              <a:t>This maintains the ACID properties for a transaction</a:t>
            </a:r>
            <a:r>
              <a:rPr lang="en-US" dirty="0"/>
              <a:t>.</a:t>
            </a:r>
          </a:p>
          <a:p>
            <a:endParaRPr lang="en-US" dirty="0"/>
          </a:p>
          <a:p>
            <a:r>
              <a:rPr lang="en-US" dirty="0"/>
              <a:t>To understand how the write-ahead log works, it is important for you to know how modified data is written to disk. SQL Server maintains a buffer cache into which it reads data pages when data must be retrieved. When a page is modified in the buffer cache, it is not immediately written back to disk; instead, the page is marked as dirty. A data page can have more than one logical write made before it is physically written to disk. For each logical write, a transaction log record is inserted in the log cache that records the modification. The log records must be written to disk before the associated dirty page is removed from the buffer cache and written to disk. The checkpoint process periodically scans the buffer cache for buffers with pages from a specified database and writes all dirty pages to disk. Checkpoints save time during a later recovery by creating a point at which all dirty pages are guaranteed to have been written to disk.</a:t>
            </a:r>
          </a:p>
          <a:p>
            <a:endParaRPr lang="en-US" dirty="0"/>
          </a:p>
          <a:p>
            <a:r>
              <a:rPr lang="en-US" dirty="0"/>
              <a:t>Writing a modified data page from the buffer cache to disk is called flushing the page. SQL Server has logic that prevents a dirty page from being flushed before the associated log record is written. Log records are written to disk when the log buffers are flushed. This happens whenever a transaction commits or the log buffers become full.</a:t>
            </a:r>
          </a:p>
          <a:p>
            <a:endParaRPr lang="en-US" dirty="0"/>
          </a:p>
          <a:p>
            <a:r>
              <a:rPr lang="en-US" b="1" dirty="0"/>
              <a:t>Key Points</a:t>
            </a:r>
            <a:r>
              <a:rPr lang="en-US" dirty="0"/>
              <a:t>:</a:t>
            </a:r>
          </a:p>
          <a:p>
            <a:pPr>
              <a:spcAft>
                <a:spcPts val="600"/>
              </a:spcAft>
            </a:pPr>
            <a:r>
              <a:rPr lang="en-US" dirty="0"/>
              <a:t>SQL Server uses the buffer pool to minimize the amount of disk I/O that must be done against the data file. When a page is required for a read or write operation, the buffer pool is checked first. If the page is already in the buffer pool, the operation can be satisfied from memory only.</a:t>
            </a:r>
          </a:p>
          <a:p>
            <a:pPr>
              <a:spcAft>
                <a:spcPts val="600"/>
              </a:spcAft>
            </a:pPr>
            <a:r>
              <a:rPr lang="en-US" dirty="0"/>
              <a:t>When a modification happens, the change is made to the data page in memory first, and then a log record is written to the transaction log file. The page will not be written out to disk until the CHECKPOINT process comes through and flushes changes out to the data file. If the SQL Server process is shut down unexpectedly and the memory space is lost, SQL Server uses the transaction log to bring the data file up to date with any changes that were committed before the crash but not persisted to disk. This is called recovery.</a:t>
            </a:r>
          </a:p>
          <a:p>
            <a:pPr>
              <a:spcAft>
                <a:spcPts val="600"/>
              </a:spcAft>
            </a:pPr>
            <a:r>
              <a:rPr lang="en-US" dirty="0"/>
              <a:t>To optimize the I/O, SQL Server will attempt to gather pages together so that larger chunks of a file can be read or written in a single operation. For reads, SQL Server has a read ahead mechanism that will read contiguous pages from an object in a single request if needed by a query. For writes, SQL Server will gather together a chunk of contiguous pages that have been modified so they can be written in a single request.</a:t>
            </a:r>
          </a:p>
          <a:p>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r>
              <a:rPr lang="en-US" dirty="0"/>
              <a:t>:</a:t>
            </a:r>
          </a:p>
          <a:p>
            <a:r>
              <a:rPr lang="en-US" sz="882" kern="1200" baseline="0" dirty="0">
                <a:solidFill>
                  <a:schemeClr val="tx1"/>
                </a:solidFill>
                <a:effectLst/>
                <a:latin typeface="+mn-lt"/>
                <a:ea typeface="+mn-ea"/>
                <a:cs typeface="+mn-cs"/>
              </a:rPr>
              <a:t>SQL Server Transaction Log Architecture and Management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sql-server-transaction-log-architecture-and-management-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ACID propertie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docs.microsoft.com/en-us/previous-versions/office/developer/server-technologies/aa480356(v=msdn.10)</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Write-Ahead Transaction Log</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5"/>
              </a:rPr>
              <a:t>https://docs.microsoft.com/en-us/sql/relational-databases/sql-server-transaction-log-architecture-and-management-guide?view=sql-server-ver15#WAL</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Writing Page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6"/>
              </a:rPr>
              <a:t>https://docs.microsoft.com/en-us/sql/relational-databases/writing-page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Analyzing I/O Characteristics and Sizing Storage Systems for SQL Server Database Applications </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7"/>
              </a:rPr>
              <a:t>https://docs.microsoft.com/en-us/previous-versions/sql/sql-server-2008/ee410782(v=sql.100)</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146258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a:spcAft>
                <a:spcPts val="600"/>
              </a:spcAft>
            </a:pPr>
            <a:r>
              <a:rPr lang="en-US" dirty="0"/>
              <a:t>The buffer pool generally represents the largest percentage of SQL Server memory. In NUMA systems, there will be a separate buffer pool node for each NUMA node. </a:t>
            </a:r>
          </a:p>
          <a:p>
            <a:pPr>
              <a:spcAft>
                <a:spcPts val="600"/>
              </a:spcAft>
            </a:pPr>
            <a:r>
              <a:rPr lang="en-US" dirty="0"/>
              <a:t>The buffer pool abstracts the physical location of data and provides caching functions. All data accessed by SQL Server goes through the buffer pool. Therefore, the buffer pool can determine the data that should be stored in the cache to boost performance for frequently used objects. </a:t>
            </a:r>
          </a:p>
          <a:p>
            <a:pPr>
              <a:spcAft>
                <a:spcPts val="600"/>
              </a:spcAft>
            </a:pPr>
            <a:r>
              <a:rPr lang="en-US" dirty="0"/>
              <a:t>There are two ways that the data is accessed from the buffer pool: </a:t>
            </a:r>
          </a:p>
          <a:p>
            <a:pPr marL="171450" indent="-171450">
              <a:spcAft>
                <a:spcPts val="600"/>
              </a:spcAft>
              <a:buFont typeface="Arial" pitchFamily="34" charset="0"/>
              <a:buChar char="•"/>
            </a:pPr>
            <a:r>
              <a:rPr lang="en-US" b="1" dirty="0"/>
              <a:t>Logical read</a:t>
            </a:r>
            <a:r>
              <a:rPr lang="en-US" dirty="0"/>
              <a:t>. Indicates that the data requested is already present in the cache. A logical read-only involves memory access, so the response time is optimum. </a:t>
            </a:r>
          </a:p>
          <a:p>
            <a:pPr marL="171450" indent="-171450">
              <a:spcAft>
                <a:spcPts val="600"/>
              </a:spcAft>
              <a:buFont typeface="Arial" pitchFamily="34" charset="0"/>
              <a:buChar char="•"/>
            </a:pPr>
            <a:r>
              <a:rPr lang="en-US" b="1" dirty="0"/>
              <a:t>Physical read</a:t>
            </a:r>
            <a:r>
              <a:rPr lang="en-US" dirty="0"/>
              <a:t>. Indicates that the data requested is not present in the cache, so the data must be found by using the database files. A physical read is a disk I/O operation, which is more expensive than memory access. When the I/O operation completes, the request is satisfied and the data is stored in the cache so that it can be accessed later. </a:t>
            </a:r>
          </a:p>
          <a:p>
            <a:pPr>
              <a:spcAft>
                <a:spcPts val="600"/>
              </a:spcAft>
            </a:pPr>
            <a:r>
              <a:rPr lang="en-US" dirty="0"/>
              <a:t>When a query runs, the database pages that contain the data required to return the query result may or may not be located in physical memory. The query does not have the notion of data locality; it simply requests the page from the buffer pool. </a:t>
            </a:r>
          </a:p>
          <a:p>
            <a:pPr>
              <a:spcAft>
                <a:spcPts val="600"/>
              </a:spcAft>
            </a:pPr>
            <a:r>
              <a:rPr lang="en-US" dirty="0"/>
              <a:t>If the pages are in memory, then there is a logical read of the page, which results in a </a:t>
            </a:r>
            <a:r>
              <a:rPr lang="en-US" i="1" dirty="0"/>
              <a:t>cache hit</a:t>
            </a:r>
            <a:r>
              <a:rPr lang="en-US" dirty="0"/>
              <a:t>. If the page is not in memory, then there needs to be a physical read of the page from the disk subsystem. This results in a </a:t>
            </a:r>
            <a:r>
              <a:rPr lang="en-US" i="1" dirty="0"/>
              <a:t>cache miss event</a:t>
            </a:r>
            <a:r>
              <a:rPr lang="en-US" dirty="0"/>
              <a:t>. </a:t>
            </a:r>
          </a:p>
          <a:p>
            <a:endParaRPr lang="en-US" b="1" dirty="0"/>
          </a:p>
          <a:p>
            <a:r>
              <a:rPr lang="en-US" b="1" dirty="0"/>
              <a:t>Additional Reading:</a:t>
            </a:r>
          </a:p>
          <a:p>
            <a:r>
              <a:rPr lang="en-US" i="1" dirty="0"/>
              <a:t>Buffer Management</a:t>
            </a:r>
          </a:p>
          <a:p>
            <a:r>
              <a:rPr lang="en-US" dirty="0">
                <a:hlinkClick r:id="rId4"/>
              </a:rPr>
              <a:t>https://docs.microsoft.com/en-us/previous-versions/sql/sql-server-2008-r2/aa337525(v=sql.105)</a:t>
            </a:r>
            <a:endParaRPr lang="en-US" i="1" dirty="0"/>
          </a:p>
          <a:p>
            <a:r>
              <a:rPr lang="en-US" i="1" dirty="0"/>
              <a:t>Growing and Shrinking the Buffer Pool Under NUMA</a:t>
            </a:r>
          </a:p>
          <a:p>
            <a:r>
              <a:rPr lang="en-US" dirty="0">
                <a:hlinkClick r:id="rId5"/>
              </a:rPr>
              <a:t>https://docs.microsoft.com/en-us/previous-versions/sql/sql-server-2008-r2/ms345403(v=sql.105)</a:t>
            </a:r>
            <a:endParaRPr lang="en-US" dirty="0"/>
          </a:p>
          <a:p>
            <a:endParaRPr lang="en-US" dirty="0"/>
          </a:p>
          <a:p>
            <a:endParaRPr lang="en-US" b="0" dirty="0"/>
          </a:p>
          <a:p>
            <a:endParaRPr lang="en-US" b="0" dirty="0"/>
          </a:p>
          <a:p>
            <a:endParaRPr lang="en-US" b="1" dirty="0"/>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418477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SET STATISTICS IO (Transact-SQL) - SQL Server | Microsoft Docs</a:t>
            </a:r>
            <a:endParaRPr lang="en-US" dirty="0"/>
          </a:p>
          <a:p>
            <a:r>
              <a:rPr lang="en-US" b="0" i="0" dirty="0">
                <a:solidFill>
                  <a:srgbClr val="E3E3E3"/>
                </a:solidFill>
                <a:effectLst/>
                <a:latin typeface="Segoe UI" panose="020B0502040204020203" pitchFamily="34" charset="0"/>
              </a:rPr>
              <a:t>Causes SQL Server to display information about the amount of disk activity generated by Transact-SQL statements.</a:t>
            </a:r>
            <a:endParaRPr lang="en-US" dirty="0"/>
          </a:p>
          <a:p>
            <a:endParaRPr lang="en-US" dirty="0"/>
          </a:p>
          <a:p>
            <a:endParaRPr lang="en-US" dirty="0"/>
          </a:p>
          <a:p>
            <a:r>
              <a:rPr lang="en-US" dirty="0">
                <a:hlinkClick r:id="rId4"/>
              </a:rPr>
              <a:t>SET STATISTICS TIME (Transact-SQL) - SQL Server | Microsoft Docs</a:t>
            </a:r>
            <a:endParaRPr lang="en-US" dirty="0"/>
          </a:p>
          <a:p>
            <a:r>
              <a:rPr lang="en-US" b="0" i="0" dirty="0">
                <a:solidFill>
                  <a:srgbClr val="E3E3E3"/>
                </a:solidFill>
                <a:effectLst/>
                <a:latin typeface="Segoe UI" panose="020B0502040204020203" pitchFamily="34" charset="0"/>
              </a:rPr>
              <a:t>Displays the number of milliseconds required to parse, compile, and execute each statement.</a:t>
            </a:r>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3224067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714309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8/11/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2676444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sz="882" b="1" i="0" kern="1200" baseline="0" dirty="0">
                <a:solidFill>
                  <a:schemeClr val="tx1"/>
                </a:solidFill>
                <a:effectLst/>
                <a:latin typeface="+mn-lt"/>
                <a:ea typeface="+mn-ea"/>
                <a:cs typeface="+mn-cs"/>
              </a:rPr>
              <a:t>Overview</a:t>
            </a:r>
          </a:p>
          <a:p>
            <a:r>
              <a:rPr lang="en-US" sz="882" b="0" i="0" kern="1200" baseline="0" dirty="0">
                <a:solidFill>
                  <a:schemeClr val="tx1"/>
                </a:solidFill>
                <a:effectLst/>
                <a:latin typeface="+mn-lt"/>
                <a:ea typeface="+mn-ea"/>
                <a:cs typeface="+mn-cs"/>
              </a:rPr>
              <a:t>For performance reasons, the Database Engine performs modifications to database pages in memory-in the buffer cache-and does not write these pages to disk after every change. Rather, the Database Engine periodically issues a checkpoint on each database. A </a:t>
            </a:r>
            <a:r>
              <a:rPr lang="en-US" sz="882" b="0" i="1" kern="1200" baseline="0" dirty="0">
                <a:solidFill>
                  <a:schemeClr val="tx1"/>
                </a:solidFill>
                <a:effectLst/>
                <a:latin typeface="+mn-lt"/>
                <a:ea typeface="+mn-ea"/>
                <a:cs typeface="+mn-cs"/>
              </a:rPr>
              <a:t>checkpoint</a:t>
            </a:r>
            <a:r>
              <a:rPr lang="en-US" sz="882" b="0" i="0" kern="1200" baseline="0" dirty="0">
                <a:solidFill>
                  <a:schemeClr val="tx1"/>
                </a:solidFill>
                <a:effectLst/>
                <a:latin typeface="+mn-lt"/>
                <a:ea typeface="+mn-ea"/>
                <a:cs typeface="+mn-cs"/>
              </a:rPr>
              <a:t> writes the current in-memory modified pages (known as </a:t>
            </a:r>
            <a:r>
              <a:rPr lang="en-US" sz="882" b="0" i="1" kern="1200" baseline="0" dirty="0">
                <a:solidFill>
                  <a:schemeClr val="tx1"/>
                </a:solidFill>
                <a:effectLst/>
                <a:latin typeface="+mn-lt"/>
                <a:ea typeface="+mn-ea"/>
                <a:cs typeface="+mn-cs"/>
              </a:rPr>
              <a:t>dirty pages</a:t>
            </a:r>
            <a:r>
              <a:rPr lang="en-US" sz="882" b="0" i="0" kern="1200" baseline="0" dirty="0">
                <a:solidFill>
                  <a:schemeClr val="tx1"/>
                </a:solidFill>
                <a:effectLst/>
                <a:latin typeface="+mn-lt"/>
                <a:ea typeface="+mn-ea"/>
                <a:cs typeface="+mn-cs"/>
              </a:rPr>
              <a:t>) and transaction log information from memory to disk and, also records the information in the transaction log.</a:t>
            </a:r>
          </a:p>
          <a:p>
            <a:r>
              <a:rPr lang="en-US" sz="882" b="0" i="0" kern="1200" baseline="0" dirty="0">
                <a:solidFill>
                  <a:schemeClr val="tx1"/>
                </a:solidFill>
                <a:effectLst/>
                <a:latin typeface="+mn-lt"/>
                <a:ea typeface="+mn-ea"/>
                <a:cs typeface="+mn-cs"/>
              </a:rPr>
              <a:t>The Database Engine supports several types of checkpoints: automatic, indirect, manual, and internal. </a:t>
            </a:r>
          </a:p>
          <a:p>
            <a:endParaRPr lang="en-US" dirty="0"/>
          </a:p>
          <a:p>
            <a:pPr rtl="0"/>
            <a:r>
              <a:rPr lang="en-US" sz="882" b="1" i="0" kern="1200" baseline="0" dirty="0">
                <a:solidFill>
                  <a:schemeClr val="tx1"/>
                </a:solidFill>
                <a:effectLst/>
                <a:latin typeface="+mn-lt"/>
                <a:ea typeface="+mn-ea"/>
                <a:cs typeface="+mn-cs"/>
              </a:rPr>
              <a:t>Note</a:t>
            </a:r>
          </a:p>
          <a:p>
            <a:r>
              <a:rPr lang="en-US" sz="882" b="0" i="0" kern="1200" baseline="0" dirty="0">
                <a:solidFill>
                  <a:schemeClr val="tx1"/>
                </a:solidFill>
                <a:effectLst/>
                <a:latin typeface="+mn-lt"/>
                <a:ea typeface="+mn-ea"/>
                <a:cs typeface="+mn-cs"/>
              </a:rPr>
              <a:t>The </a:t>
            </a:r>
            <a:r>
              <a:rPr lang="en-US" sz="882" b="1" i="0" kern="1200" baseline="0" dirty="0">
                <a:solidFill>
                  <a:schemeClr val="tx1"/>
                </a:solidFill>
                <a:effectLst/>
                <a:latin typeface="+mn-lt"/>
                <a:ea typeface="+mn-ea"/>
                <a:cs typeface="+mn-cs"/>
              </a:rPr>
              <a:t>-k</a:t>
            </a:r>
            <a:r>
              <a:rPr lang="en-US" sz="882" b="0" i="0" kern="1200" baseline="0" dirty="0">
                <a:solidFill>
                  <a:schemeClr val="tx1"/>
                </a:solidFill>
                <a:effectLst/>
                <a:latin typeface="+mn-lt"/>
                <a:ea typeface="+mn-ea"/>
                <a:cs typeface="+mn-cs"/>
              </a:rPr>
              <a:t> SQL Server advanced setup option enables a database administrator to throttle checkpoint I/O behavior based on the throughput of the I/O subsystem for some types of checkpoints. The </a:t>
            </a:r>
            <a:r>
              <a:rPr lang="en-US" sz="882" b="1" i="0" kern="1200" baseline="0" dirty="0">
                <a:solidFill>
                  <a:schemeClr val="tx1"/>
                </a:solidFill>
                <a:effectLst/>
                <a:latin typeface="+mn-lt"/>
                <a:ea typeface="+mn-ea"/>
                <a:cs typeface="+mn-cs"/>
              </a:rPr>
              <a:t>-k</a:t>
            </a:r>
            <a:r>
              <a:rPr lang="en-US" sz="882" b="0" i="0" kern="1200" baseline="0" dirty="0">
                <a:solidFill>
                  <a:schemeClr val="tx1"/>
                </a:solidFill>
                <a:effectLst/>
                <a:latin typeface="+mn-lt"/>
                <a:ea typeface="+mn-ea"/>
                <a:cs typeface="+mn-cs"/>
              </a:rPr>
              <a:t> setup option applies to automatic checkpoints and any otherwise unthrottled manual and internal checkpoints.</a:t>
            </a:r>
          </a:p>
          <a:p>
            <a:r>
              <a:rPr lang="en-US" sz="882" b="0" i="0" kern="1200" baseline="0" dirty="0">
                <a:solidFill>
                  <a:schemeClr val="tx1"/>
                </a:solidFill>
                <a:effectLst/>
                <a:latin typeface="+mn-lt"/>
                <a:ea typeface="+mn-ea"/>
                <a:cs typeface="+mn-cs"/>
              </a:rPr>
              <a:t>For automatic, manual, and internal checkpoints, only modifications made after the latest checkpoint need to be rolled forward during database recovery. This reduces the time required to recover a database.</a:t>
            </a:r>
          </a:p>
          <a:p>
            <a:endParaRPr lang="en-US" sz="882" b="1"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Important</a:t>
            </a:r>
          </a:p>
          <a:p>
            <a:r>
              <a:rPr lang="en-US" sz="882" b="0" i="0" kern="1200" baseline="0" dirty="0">
                <a:solidFill>
                  <a:schemeClr val="tx1"/>
                </a:solidFill>
                <a:effectLst/>
                <a:latin typeface="+mn-lt"/>
                <a:ea typeface="+mn-ea"/>
                <a:cs typeface="+mn-cs"/>
              </a:rPr>
              <a:t>Long-running, uncommitted transactions increase recovery time for all checkpoint types.</a:t>
            </a:r>
          </a:p>
          <a:p>
            <a:endParaRPr lang="en-US" dirty="0"/>
          </a:p>
          <a:p>
            <a:r>
              <a:rPr lang="en-US" b="1" dirty="0"/>
              <a:t>Key Points</a:t>
            </a:r>
            <a:r>
              <a:rPr lang="en-US" dirty="0"/>
              <a:t>:</a:t>
            </a:r>
          </a:p>
          <a:p>
            <a:pPr>
              <a:spcAft>
                <a:spcPts val="600"/>
              </a:spcAft>
            </a:pPr>
            <a:r>
              <a:rPr lang="en-US" dirty="0"/>
              <a:t>Checkpoints are used by the database engine to minimize the time to recover databases in the event of a server crash or restart. Data page changes are buffered in memory to minimize disk I/O and maximize performance. If the server crashes, any changes made in-memory that have not yet been written to the data file will be lost. Upon restart, SQL Server will need to recover these changes by reading the transaction log file – rolling forward any changes that were committed at the time of the crash and rolling back any changes that were not committed at the time of the crash. This process is called “recovery.”</a:t>
            </a:r>
          </a:p>
          <a:p>
            <a:pPr>
              <a:spcAft>
                <a:spcPts val="600"/>
              </a:spcAft>
            </a:pPr>
            <a:r>
              <a:rPr lang="en-US" dirty="0"/>
              <a:t>The “</a:t>
            </a:r>
            <a:r>
              <a:rPr lang="en-US" b="1" dirty="0"/>
              <a:t>recovery interval</a:t>
            </a:r>
            <a:r>
              <a:rPr lang="en-US" dirty="0"/>
              <a:t>” server option allows you to control the estimated time it will take to recover databases on the server upon restart. The default setting is 0, which allows SQL Server to control the interval (</a:t>
            </a:r>
            <a:r>
              <a:rPr lang="en-US" b="1" dirty="0"/>
              <a:t>typically resulting in checkpoints about every 1 minute and &lt; 1 minute recovery</a:t>
            </a:r>
            <a:r>
              <a:rPr lang="en-US" dirty="0"/>
              <a:t>). The longer the recovery interval, the less frequent the checkpoints will be, resulting in less disk I/O on the server. The tradeoff is longer recovery time, thus longer downtime in the event of an unexpected restart. It is recommended to leave the recovery interval at the default, but if there are very frequent changes in a database, particularly changes that always affect the same page in memory, it may be beneficial to increase the interval.</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r>
              <a:rPr lang="en-US" dirty="0"/>
              <a:t>:</a:t>
            </a:r>
          </a:p>
          <a:p>
            <a:r>
              <a:rPr lang="en-US" sz="882" kern="1200" baseline="0" dirty="0">
                <a:solidFill>
                  <a:schemeClr val="tx1"/>
                </a:solidFill>
                <a:effectLst/>
                <a:latin typeface="+mn-lt"/>
                <a:ea typeface="+mn-ea"/>
                <a:cs typeface="+mn-cs"/>
              </a:rPr>
              <a:t>Database Checkpoints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logs/database-checkpoints-sql-server?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Configure the recovery interval Server Configuration Option</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docs.microsoft.com/en-us/sql/database-engine/configure-windows/configure-the-recovery-interval-server-configuration-option?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Change the Target Recovery Time of a Database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5"/>
              </a:rPr>
              <a:t>https://docs.microsoft.com/en-us/sql/relational-databases/logs/change-the-target-recovery-time-of-a-database-sql-server?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816708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all this has been running, several other parts of SQLOS have been active:</a:t>
            </a:r>
          </a:p>
          <a:p>
            <a:pPr lvl="1"/>
            <a:r>
              <a:rPr lang="en-US" b="1" dirty="0"/>
              <a:t>Monitoring</a:t>
            </a:r>
            <a:r>
              <a:rPr lang="en-US" dirty="0"/>
              <a:t>: DMVs, Extended Events (</a:t>
            </a:r>
            <a:r>
              <a:rPr lang="en-US" dirty="0" err="1"/>
              <a:t>xEvents</a:t>
            </a:r>
            <a:r>
              <a:rPr lang="en-US" dirty="0"/>
              <a:t>), and so on.</a:t>
            </a:r>
          </a:p>
          <a:p>
            <a:pPr lvl="1"/>
            <a:r>
              <a:rPr lang="en-US" b="1" dirty="0"/>
              <a:t>Deadlock</a:t>
            </a:r>
            <a:r>
              <a:rPr lang="en-US" dirty="0"/>
              <a:t> </a:t>
            </a:r>
            <a:r>
              <a:rPr lang="en-US" b="1" dirty="0"/>
              <a:t>Monitor</a:t>
            </a:r>
            <a:r>
              <a:rPr lang="en-US" dirty="0"/>
              <a:t> thread: Monitors for and deals with deadlocks.</a:t>
            </a:r>
          </a:p>
          <a:p>
            <a:pPr lvl="1"/>
            <a:r>
              <a:rPr lang="en-US" b="1" dirty="0"/>
              <a:t>Lazy</a:t>
            </a:r>
            <a:r>
              <a:rPr lang="en-US" dirty="0"/>
              <a:t> </a:t>
            </a:r>
            <a:r>
              <a:rPr lang="en-US" b="1" dirty="0"/>
              <a:t>Writer</a:t>
            </a:r>
            <a:r>
              <a:rPr lang="en-US" dirty="0"/>
              <a:t> threads: Clock sweeping the buffer pool to maintain the free lists and responsible for writing dirty pages to disk between checkpoints.</a:t>
            </a:r>
          </a:p>
          <a:p>
            <a:pPr lvl="1"/>
            <a:r>
              <a:rPr lang="en-US" b="1" dirty="0"/>
              <a:t>Scheduler</a:t>
            </a:r>
            <a:r>
              <a:rPr lang="en-US" dirty="0"/>
              <a:t> </a:t>
            </a:r>
            <a:r>
              <a:rPr lang="en-US" b="1" dirty="0"/>
              <a:t>Monitor</a:t>
            </a:r>
            <a:r>
              <a:rPr lang="en-US" dirty="0"/>
              <a:t> thread: Monitors scheduler health and detects issues such as non-yielding scenarios.</a:t>
            </a:r>
          </a:p>
          <a:p>
            <a:pPr lvl="1"/>
            <a:r>
              <a:rPr lang="en-US" b="1" dirty="0"/>
              <a:t>Resource</a:t>
            </a:r>
            <a:r>
              <a:rPr lang="en-US" dirty="0"/>
              <a:t> </a:t>
            </a:r>
            <a:r>
              <a:rPr lang="en-US" b="1" dirty="0"/>
              <a:t>Monitor</a:t>
            </a:r>
            <a:r>
              <a:rPr lang="en-US" dirty="0"/>
              <a:t> thread: Monitors available memory from operating system and internal to SQL Server and notifies the Clerks.</a:t>
            </a:r>
          </a:p>
          <a:p>
            <a:endParaRPr lang="en-US" dirty="0"/>
          </a:p>
          <a:p>
            <a:r>
              <a:rPr lang="en-US" dirty="0"/>
              <a:t>The Hosting APIs for external components interface with Microsoft Data Access Components (MDAC) and common language runtime (CLR).</a:t>
            </a:r>
          </a:p>
          <a:p>
            <a:endParaRPr lang="en-GB" dirty="0"/>
          </a:p>
          <a:p>
            <a:pPr marL="171450" indent="-171450">
              <a:buFont typeface="Arial" panose="020B0604020202020204" pitchFamily="34" charset="0"/>
              <a:buChar char="•"/>
            </a:pPr>
            <a:r>
              <a:rPr lang="en-US" dirty="0"/>
              <a:t>The </a:t>
            </a:r>
            <a:r>
              <a:rPr lang="en-US" b="1" dirty="0"/>
              <a:t>Storage Engine</a:t>
            </a:r>
            <a:r>
              <a:rPr lang="en-US" dirty="0"/>
              <a:t> manages all data access, both through transaction-based commands (with the Transaction Manager) and bulk operations such as backup, bulk insert, and certain </a:t>
            </a:r>
            <a:r>
              <a:rPr lang="en-US" dirty="0">
                <a:solidFill>
                  <a:srgbClr val="FF0000"/>
                </a:solidFill>
              </a:rPr>
              <a:t>Database Console Command (DBCC) commands.</a:t>
            </a:r>
          </a:p>
          <a:p>
            <a:pPr marL="171450" indent="-171450">
              <a:buFont typeface="Arial" panose="020B0604020202020204" pitchFamily="34" charset="0"/>
              <a:buChar char="•"/>
            </a:pPr>
            <a:r>
              <a:rPr lang="en-US" b="1" dirty="0"/>
              <a:t>Access Methods</a:t>
            </a:r>
            <a:r>
              <a:rPr lang="en-US" dirty="0"/>
              <a:t> is an important component of the Storage Engine, and contains components to open a table, retrieve qualified data, and update data. </a:t>
            </a:r>
          </a:p>
          <a:p>
            <a:pPr marL="171450" indent="-171450">
              <a:buFont typeface="Arial" panose="020B0604020202020204" pitchFamily="34" charset="0"/>
              <a:buChar char="•"/>
            </a:pPr>
            <a:r>
              <a:rPr lang="en-US" dirty="0"/>
              <a:t>The Access Methods code does not actually retrieve the pages, it will make a request to the </a:t>
            </a:r>
            <a:r>
              <a:rPr lang="en-US" b="1" dirty="0"/>
              <a:t>Buffer Manager</a:t>
            </a:r>
            <a:r>
              <a:rPr lang="en-US" dirty="0"/>
              <a:t>, which holds a copy of the requested data pages in memory (and if the requested page is not in memory, it will retrieve it from disk). By memory, we mean specifically the </a:t>
            </a:r>
            <a:r>
              <a:rPr lang="en-US" b="1" dirty="0"/>
              <a:t>Buffer Pool</a:t>
            </a:r>
            <a:r>
              <a:rPr lang="en-US" dirty="0"/>
              <a:t>, which is part of the SQLOS.</a:t>
            </a:r>
          </a:p>
          <a:p>
            <a:pPr marL="171450" indent="-171450">
              <a:buFont typeface="Arial" panose="020B0604020202020204" pitchFamily="34" charset="0"/>
              <a:buChar char="•"/>
            </a:pPr>
            <a:r>
              <a:rPr lang="en-US" dirty="0"/>
              <a:t>The </a:t>
            </a:r>
            <a:r>
              <a:rPr lang="en-US" b="1" dirty="0"/>
              <a:t>Transaction Manager</a:t>
            </a:r>
            <a:r>
              <a:rPr lang="en-US" dirty="0"/>
              <a:t> ensures that transactions adhere to the ACID properties: atomicity, consistency, isolation, and durability. </a:t>
            </a:r>
          </a:p>
          <a:p>
            <a:pPr marL="171450" indent="-171450">
              <a:buFont typeface="Arial" panose="020B0604020202020204" pitchFamily="34" charset="0"/>
              <a:buChar char="•"/>
            </a:pPr>
            <a:r>
              <a:rPr lang="en-US" dirty="0"/>
              <a:t>It also outlines the boundaries of statements that must be grouped together to form an operation, and it allows “nested” transactions by managing </a:t>
            </a:r>
            <a:r>
              <a:rPr lang="en-US" dirty="0" err="1"/>
              <a:t>savepoints</a:t>
            </a:r>
            <a:r>
              <a:rPr lang="en-US" dirty="0"/>
              <a:t>, if any. Furthermore, it also coordinates with the Lock Manager regarding when locks can be released, based on the isolation level in effect. It also coordinates with Access Methods to determine when old versions of rows are no longer needed and can be removed from the version store.</a:t>
            </a:r>
          </a:p>
          <a:p>
            <a:pPr marL="171450" indent="-171450">
              <a:buFont typeface="Arial" panose="020B0604020202020204" pitchFamily="34" charset="0"/>
              <a:buChar char="•"/>
            </a:pPr>
            <a:r>
              <a:rPr lang="en-US" dirty="0"/>
              <a:t>The </a:t>
            </a:r>
            <a:r>
              <a:rPr lang="en-US" b="1" dirty="0"/>
              <a:t>File Manager</a:t>
            </a:r>
            <a:r>
              <a:rPr lang="en-US" dirty="0"/>
              <a:t> handles actual physical access to data and log files, as well as access to backup devices.</a:t>
            </a:r>
          </a:p>
          <a:p>
            <a:pPr marL="171450" indent="-171450">
              <a:buFont typeface="Arial" panose="020B0604020202020204" pitchFamily="34" charset="0"/>
              <a:buChar char="•"/>
            </a:pPr>
            <a:r>
              <a:rPr lang="en-US" dirty="0"/>
              <a:t>Also included in the storage engine are components for controlling </a:t>
            </a:r>
            <a:r>
              <a:rPr lang="en-US" b="1" dirty="0"/>
              <a:t>utilities</a:t>
            </a:r>
            <a:r>
              <a:rPr lang="en-US" dirty="0"/>
              <a:t> such as Bulk Load, DBCC commands, and Backup/Restore operations.</a:t>
            </a:r>
          </a:p>
          <a:p>
            <a:pPr marL="171450" indent="-171450">
              <a:buFont typeface="Arial" panose="020B0604020202020204" pitchFamily="34" charset="0"/>
              <a:buChar char="•"/>
            </a:pPr>
            <a:r>
              <a:rPr lang="en-US" dirty="0"/>
              <a:t>The </a:t>
            </a:r>
            <a:r>
              <a:rPr lang="en-US" b="1" dirty="0"/>
              <a:t>SQLOS</a:t>
            </a:r>
            <a:r>
              <a:rPr lang="en-US" dirty="0"/>
              <a:t> </a:t>
            </a:r>
            <a:r>
              <a:rPr lang="en-US" b="1" dirty="0"/>
              <a:t>layer</a:t>
            </a:r>
            <a:r>
              <a:rPr lang="en-US" dirty="0"/>
              <a:t> handles activities that are normally considered to be operating system-like responsibilities, such as </a:t>
            </a:r>
            <a:r>
              <a:rPr lang="en-US" b="1" dirty="0"/>
              <a:t>Thread Scheduling</a:t>
            </a:r>
            <a:r>
              <a:rPr lang="en-US" dirty="0"/>
              <a:t>, </a:t>
            </a:r>
            <a:r>
              <a:rPr lang="en-US" b="1" dirty="0"/>
              <a:t>Synchronization services</a:t>
            </a:r>
            <a:r>
              <a:rPr lang="en-US" dirty="0"/>
              <a:t> (latching and deadlock detection), </a:t>
            </a:r>
            <a:r>
              <a:rPr lang="en-US" b="1" dirty="0"/>
              <a:t>Memory management</a:t>
            </a:r>
            <a:r>
              <a:rPr lang="en-US" dirty="0"/>
              <a:t> (including the Buffer Pool), </a:t>
            </a:r>
            <a:r>
              <a:rPr lang="en-US" b="1" dirty="0"/>
              <a:t>Lock management</a:t>
            </a:r>
            <a:r>
              <a:rPr lang="en-US" dirty="0"/>
              <a:t>, </a:t>
            </a:r>
            <a:r>
              <a:rPr lang="en-US" b="1" dirty="0"/>
              <a:t>I/O management</a:t>
            </a:r>
            <a:r>
              <a:rPr lang="en-US" dirty="0"/>
              <a:t> (which establish the completion routines for read/write operations from memory to disk and vice-versa) , and Monitoring (such as DMVs and </a:t>
            </a:r>
            <a:r>
              <a:rPr lang="en-US" dirty="0" err="1"/>
              <a:t>xEvents</a:t>
            </a:r>
            <a:r>
              <a:rPr lang="en-US" dirty="0"/>
              <a:t>).</a:t>
            </a:r>
          </a:p>
          <a:p>
            <a:pPr marL="171450" indent="-171450">
              <a:buFont typeface="Arial" panose="020B0604020202020204" pitchFamily="34" charset="0"/>
              <a:buChar char="•"/>
            </a:pPr>
            <a:r>
              <a:rPr lang="en-US" dirty="0"/>
              <a:t>Locking is a crucial function of a multi-user Remote Desktop Management Services (RDMS) such as SQL Server, even if you are operating an optimistic concurrency model such as snapshot isolation level, to help ensure the isolation and consistency properties of ACID. This is handled by the </a:t>
            </a:r>
            <a:r>
              <a:rPr lang="en-US" b="1" dirty="0"/>
              <a:t>Lock Manager</a:t>
            </a:r>
            <a:r>
              <a:rPr lang="en-US" dirty="0"/>
              <a:t>, whose main job is to provide hierarchical access to data in a concurrent fashion (as allowed by the Isolation Level of the transaction), by managing compatibility between the lock types. It also resolves deadlocks (with the aid of the </a:t>
            </a:r>
            <a:r>
              <a:rPr lang="en-US" b="1" dirty="0"/>
              <a:t>Deadlock Monitor</a:t>
            </a:r>
            <a:r>
              <a:rPr lang="en-US" dirty="0"/>
              <a:t> thread), and escalates locks if needed. Other components such as the other threads in the figure will be explained in an upcoming lesson in this module. </a:t>
            </a: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9334043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a:t>Key Points:</a:t>
            </a:r>
            <a:endParaRPr lang="en-US"/>
          </a:p>
          <a:p>
            <a:r>
              <a:rPr lang="en-US"/>
              <a:t>The two core responsibilities of the SQLOS are Resource Management and Monitoring. All the information used to manage and monitor resources within the SQL Server process space is exposed to the DBA via Dynamic Management Views (DMVs). These views expose the memory structures used within the SQLOS to account for all the resources in use, thus giving the DBA complete knowledge of the state of the SQL Server process.</a:t>
            </a:r>
          </a:p>
          <a:p>
            <a:endParaRPr lang="en-US"/>
          </a:p>
          <a:p>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17482601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E6E6E6"/>
                </a:solidFill>
                <a:effectLst/>
                <a:latin typeface="Segoe UI" panose="020B0502040204020203" pitchFamily="34" charset="0"/>
              </a:rPr>
              <a:t>Dynamic management views and functions return server state information that can be used to monitor the health of a server instance, diagnose problems, and tune performance.</a:t>
            </a:r>
          </a:p>
          <a:p>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Querying Dynamic Management Views</a:t>
            </a:r>
          </a:p>
          <a:p>
            <a:pPr algn="l"/>
            <a:r>
              <a:rPr lang="en-US" b="0" i="0" dirty="0">
                <a:solidFill>
                  <a:srgbClr val="E6E6E6"/>
                </a:solidFill>
                <a:effectLst/>
                <a:latin typeface="Segoe UI" panose="020B0502040204020203" pitchFamily="34" charset="0"/>
              </a:rPr>
              <a:t>Dynamic management views can be referenced in Transact-SQL statements by using two-part, three-part, or four-part names. Dynamic management functions on the other hand can be referenced in Transact-SQL statements by using either two-part or three-part names. Dynamic management views and functions cannot be referenced in Transact-SQL statements by using one-part names.</a:t>
            </a:r>
          </a:p>
          <a:p>
            <a:pPr algn="l"/>
            <a:r>
              <a:rPr lang="en-US" b="0" i="0" dirty="0">
                <a:solidFill>
                  <a:srgbClr val="E6E6E6"/>
                </a:solidFill>
                <a:effectLst/>
                <a:latin typeface="Segoe UI" panose="020B0502040204020203" pitchFamily="34" charset="0"/>
              </a:rPr>
              <a:t>All dynamic management views and functions exist in the sys schema and follow this naming convention dm_*. When you use a dynamic management view or function, you must prefix the name of the view or function by using the sys schema. For example, to query the </a:t>
            </a:r>
            <a:r>
              <a:rPr lang="en-US" b="0" i="0" dirty="0" err="1">
                <a:solidFill>
                  <a:srgbClr val="E6E6E6"/>
                </a:solidFill>
                <a:effectLst/>
                <a:latin typeface="Segoe UI" panose="020B0502040204020203" pitchFamily="34" charset="0"/>
              </a:rPr>
              <a:t>dm_os_wait_stats</a:t>
            </a:r>
            <a:r>
              <a:rPr lang="en-US" b="0" i="0" dirty="0">
                <a:solidFill>
                  <a:srgbClr val="E6E6E6"/>
                </a:solidFill>
                <a:effectLst/>
                <a:latin typeface="Segoe UI" panose="020B0502040204020203" pitchFamily="34" charset="0"/>
              </a:rPr>
              <a:t> dynamic management view, run the following query:</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SELECT </a:t>
            </a:r>
            <a:r>
              <a:rPr lang="en-US" b="0" i="0" dirty="0" err="1">
                <a:solidFill>
                  <a:srgbClr val="E6E6E6"/>
                </a:solidFill>
                <a:effectLst/>
                <a:latin typeface="Segoe UI" panose="020B0502040204020203" pitchFamily="34" charset="0"/>
              </a:rPr>
              <a:t>wait_type</a:t>
            </a:r>
            <a:r>
              <a:rPr lang="en-US" b="0" i="0" dirty="0">
                <a:solidFill>
                  <a:srgbClr val="E6E6E6"/>
                </a:solidFill>
                <a:effectLst/>
                <a:latin typeface="Segoe UI" panose="020B0502040204020203" pitchFamily="34" charset="0"/>
              </a:rPr>
              <a:t>, </a:t>
            </a:r>
            <a:r>
              <a:rPr lang="en-US" b="0" i="0" dirty="0" err="1">
                <a:solidFill>
                  <a:srgbClr val="E6E6E6"/>
                </a:solidFill>
                <a:effectLst/>
                <a:latin typeface="Segoe UI" panose="020B0502040204020203" pitchFamily="34" charset="0"/>
              </a:rPr>
              <a:t>wait_time_ms</a:t>
            </a:r>
            <a:r>
              <a:rPr lang="en-US" b="0" i="0" dirty="0">
                <a:solidFill>
                  <a:srgbClr val="E6E6E6"/>
                </a:solidFill>
                <a:effectLst/>
                <a:latin typeface="Segoe UI" panose="020B0502040204020203" pitchFamily="34" charset="0"/>
              </a:rPr>
              <a:t>  </a:t>
            </a:r>
          </a:p>
          <a:p>
            <a:pPr algn="l"/>
            <a:r>
              <a:rPr lang="en-US" b="0" i="0" dirty="0">
                <a:solidFill>
                  <a:srgbClr val="E6E6E6"/>
                </a:solidFill>
                <a:effectLst/>
                <a:latin typeface="Segoe UI" panose="020B0502040204020203" pitchFamily="34" charset="0"/>
              </a:rPr>
              <a:t>FROM sys.dm_os_wait_stats;</a:t>
            </a:r>
          </a:p>
          <a:p>
            <a:endParaRPr lang="en-US" b="0" i="0" dirty="0">
              <a:solidFill>
                <a:srgbClr val="E6E6E6"/>
              </a:solidFill>
              <a:effectLst/>
              <a:latin typeface="Segoe UI" panose="020B0502040204020203" pitchFamily="34" charset="0"/>
            </a:endParaRPr>
          </a:p>
          <a:p>
            <a:endParaRPr lang="en-US" b="0" i="0" dirty="0">
              <a:solidFill>
                <a:srgbClr val="E6E6E6"/>
              </a:solidFill>
              <a:effectLst/>
              <a:latin typeface="Segoe UI" panose="020B0502040204020203" pitchFamily="34" charset="0"/>
            </a:endParaRPr>
          </a:p>
          <a:p>
            <a:endParaRPr lang="en-GB"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Slide Number Placeholder 8"/>
          <p:cNvSpPr>
            <a:spLocks noGrp="1"/>
          </p:cNvSpPr>
          <p:nvPr>
            <p:ph type="sldNum"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2804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3137" kern="0" dirty="0">
                <a:solidFill>
                  <a:srgbClr val="000000"/>
                </a:solidFill>
              </a:rPr>
              <a:t>Two basic types:</a:t>
            </a:r>
          </a:p>
          <a:p>
            <a:pPr lvl="1"/>
            <a:r>
              <a:rPr lang="en-GB" sz="3137" kern="0" dirty="0">
                <a:solidFill>
                  <a:srgbClr val="000000"/>
                </a:solidFill>
              </a:rPr>
              <a:t>Real-time state information</a:t>
            </a:r>
          </a:p>
          <a:p>
            <a:pPr lvl="1"/>
            <a:r>
              <a:rPr lang="en-GB" sz="3137" kern="0" dirty="0">
                <a:solidFill>
                  <a:srgbClr val="000000"/>
                </a:solidFill>
              </a:rPr>
              <a:t>Historical information</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GB" sz="900" kern="0" dirty="0">
              <a:solidFill>
                <a:srgbClr val="000000"/>
              </a:solidFill>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GB" sz="900" kern="0" dirty="0">
                <a:solidFill>
                  <a:srgbClr val="000000"/>
                </a:solidFill>
              </a:rPr>
              <a:t>The DMVs that end with the word “stats” will display historical information.</a:t>
            </a:r>
          </a:p>
          <a:p>
            <a:pPr marL="0" marR="0" lvl="0" indent="0" algn="l" defTabSz="914400" rtl="0" eaLnBrk="1" fontAlgn="auto" latinLnBrk="0" hangingPunct="1">
              <a:lnSpc>
                <a:spcPct val="90000"/>
              </a:lnSpc>
              <a:spcBef>
                <a:spcPts val="333"/>
              </a:spcBef>
              <a:spcAft>
                <a:spcPts val="0"/>
              </a:spcAft>
              <a:buClrTx/>
              <a:buSzTx/>
              <a:buFontTx/>
              <a:buNone/>
              <a:tabLst/>
              <a:defRPr/>
            </a:pPr>
            <a:r>
              <a:rPr lang="en-GB" sz="900" kern="0" dirty="0">
                <a:solidFill>
                  <a:srgbClr val="000000"/>
                </a:solidFill>
              </a:rPr>
              <a:t>The DMVs that do not end with the word “stats” will display current activity.</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GB" sz="900" kern="0" dirty="0">
              <a:solidFill>
                <a:srgbClr val="000000"/>
              </a:solidFill>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0" i="0" dirty="0">
                <a:solidFill>
                  <a:srgbClr val="E6E6E6"/>
                </a:solidFill>
                <a:effectLst/>
                <a:latin typeface="Segoe UI" panose="020B0502040204020203" pitchFamily="34" charset="0"/>
              </a:rPr>
              <a:t>To return useful information about the computer, and about the resources available to and consumed by SQL Server use the </a:t>
            </a:r>
            <a:r>
              <a:rPr lang="pt-BR" sz="2000" b="1" i="0" dirty="0">
                <a:solidFill>
                  <a:srgbClr val="E6E6E6"/>
                </a:solidFill>
                <a:effectLst/>
                <a:latin typeface="Segoe UI" panose="020B0502040204020203" pitchFamily="34" charset="0"/>
              </a:rPr>
              <a:t>sys.dm_os_sys_info</a:t>
            </a:r>
          </a:p>
          <a:p>
            <a:pPr marL="0" marR="0" lvl="0" indent="0" algn="l" defTabSz="914400" rtl="0" eaLnBrk="1" fontAlgn="auto" latinLnBrk="0" hangingPunct="1">
              <a:lnSpc>
                <a:spcPct val="90000"/>
              </a:lnSpc>
              <a:spcBef>
                <a:spcPts val="333"/>
              </a:spcBef>
              <a:spcAft>
                <a:spcPts val="0"/>
              </a:spcAft>
              <a:buClrTx/>
              <a:buSzTx/>
              <a:buFontTx/>
              <a:buNone/>
              <a:tabLst/>
              <a:defRPr/>
            </a:pPr>
            <a:r>
              <a:rPr lang="en-GB" sz="900" kern="0" dirty="0">
                <a:solidFill>
                  <a:srgbClr val="000000"/>
                </a:solidFill>
              </a:rPr>
              <a:t> view. (https://docs.microsoft.com/en-us/sql/relational-databases/system-dynamic-management-views/sys-dm-os-sys-info-transact-sql)</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GB" sz="900" kern="0" dirty="0">
              <a:solidFill>
                <a:srgbClr val="000000"/>
              </a:solidFill>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GB" sz="900" kern="0" dirty="0">
              <a:solidFill>
                <a:srgbClr val="000000"/>
              </a:solidFill>
            </a:endParaRPr>
          </a:p>
          <a:p>
            <a:pPr lvl="0"/>
            <a:endParaRPr lang="en-GB" sz="3137" kern="0" dirty="0">
              <a:solidFill>
                <a:srgbClr val="000000"/>
              </a:solidFill>
            </a:endParaRPr>
          </a:p>
          <a:p>
            <a:pPr lvl="1"/>
            <a:endParaRPr lang="en-GB" sz="3137" kern="0" dirty="0">
              <a:solidFill>
                <a:srgbClr val="000000"/>
              </a:solidFill>
            </a:endParaRPr>
          </a:p>
          <a:p>
            <a:pPr marL="100584" lvl="1" indent="0">
              <a:buNone/>
            </a:pPr>
            <a:r>
              <a:rPr lang="en-GB" sz="3137" kern="0" dirty="0">
                <a:solidFill>
                  <a:srgbClr val="000000"/>
                </a:solidFill>
              </a:rPr>
              <a:t>	</a:t>
            </a:r>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1731157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Affinity Mask</a:t>
            </a:r>
          </a:p>
          <a:p>
            <a:r>
              <a:rPr lang="en-US" sz="1000" b="0" dirty="0"/>
              <a:t>The</a:t>
            </a:r>
            <a:r>
              <a:rPr lang="en-US" sz="1000" b="0" baseline="0" dirty="0"/>
              <a:t> affinity mask settings on most servers will be set to </a:t>
            </a:r>
            <a:r>
              <a:rPr lang="en-US" sz="1000" b="1" baseline="0" dirty="0"/>
              <a:t>0, </a:t>
            </a:r>
            <a:r>
              <a:rPr lang="en-US" sz="1000" b="0" baseline="0" dirty="0"/>
              <a:t>which allowed SQL Server to use all available CPUs on the server as and when needed. In some scenarios where you may not be running a dedicated server, you may want to split workloads to different sets of CPU</a:t>
            </a:r>
            <a:r>
              <a:rPr lang="en-US" sz="1000" dirty="0"/>
              <a:t>s</a:t>
            </a:r>
            <a:r>
              <a:rPr lang="en-US" sz="1000" b="0" baseline="0" dirty="0"/>
              <a:t>. For instance, if you have two SQL Server instances on a single machine, you may benefit from more predictable performance if each instance ran on its own subset of CPUs. As with all these configurations, </a:t>
            </a:r>
            <a:r>
              <a:rPr lang="en-US" sz="1000" dirty="0"/>
              <a:t>a good test plan is necessary to </a:t>
            </a:r>
            <a:r>
              <a:rPr lang="en-US" sz="1000" b="0" baseline="0" dirty="0"/>
              <a:t>know what is best for your environment.</a:t>
            </a:r>
          </a:p>
          <a:p>
            <a:endParaRPr lang="en-US" sz="1000" b="0" baseline="0" dirty="0"/>
          </a:p>
          <a:p>
            <a:r>
              <a:rPr lang="en-US" sz="1000" b="1" u="sng" baseline="0" dirty="0"/>
              <a:t>References:</a:t>
            </a:r>
          </a:p>
          <a:p>
            <a:pPr marL="171450" indent="-171450">
              <a:buFont typeface="Arial" panose="020B0604020202020204" pitchFamily="34" charset="0"/>
              <a:buChar char="•"/>
            </a:pPr>
            <a:r>
              <a:rPr lang="en-US" sz="1000" b="0" baseline="0" dirty="0"/>
              <a:t>affinity mask Server Configuration Option - htt</a:t>
            </a:r>
            <a:r>
              <a:rPr lang="en-US" sz="1000" b="0" u="sng" baseline="0" dirty="0"/>
              <a:t>ps://docs.microsoft.com/en-us/sql/database-engine/configure-windows/affinity-mask-server-configuration-option?view=sql-server-ver15</a:t>
            </a:r>
          </a:p>
          <a:p>
            <a:endParaRPr lang="en-US" sz="1000" b="0" baseline="0" dirty="0"/>
          </a:p>
          <a:p>
            <a:r>
              <a:rPr lang="en-US" sz="1000" b="1" baseline="0" dirty="0"/>
              <a:t>Cost Threshold for Parallelism</a:t>
            </a:r>
          </a:p>
          <a:p>
            <a:r>
              <a:rPr lang="en-US" sz="1000" b="0" baseline="0" dirty="0"/>
              <a:t>SQL Server uses the cost threshold for parallelism as the minimum cost to consider parallel plans. SQL Server tries to assign a cost value to each query plan as it tries to find the best plan for a given query. If the cost is below the Cost Threshold for Parallelism, parallel plans will not be looked at. Adjusting this threshold could result in more or less parallel plans and this can have a significant impact on performance. Generally, leaving this as the default is recommended, unless you have noticed an issue with the number of parallel plans being used by SQL Server for your workload.</a:t>
            </a:r>
          </a:p>
          <a:p>
            <a:pPr marL="0" marR="0" lvl="0" indent="0" algn="l" defTabSz="914400" rtl="0" eaLnBrk="1" fontAlgn="auto" latinLnBrk="0" hangingPunct="1">
              <a:lnSpc>
                <a:spcPct val="90000"/>
              </a:lnSpc>
              <a:spcBef>
                <a:spcPts val="333"/>
              </a:spcBef>
              <a:spcAft>
                <a:spcPts val="0"/>
              </a:spcAft>
              <a:buClrTx/>
              <a:buSzTx/>
              <a:buFontTx/>
              <a:buNone/>
              <a:tabLst/>
              <a:defRPr/>
            </a:pPr>
            <a:br>
              <a:rPr lang="en-US" sz="1000" b="0" baseline="0" dirty="0"/>
            </a:br>
            <a:r>
              <a:rPr lang="en-US" sz="1000" b="1" u="sng" baseline="0" dirty="0"/>
              <a:t>References:</a:t>
            </a:r>
          </a:p>
          <a:p>
            <a:pPr marL="171450" indent="-171450">
              <a:buFont typeface="Arial" panose="020B0604020202020204" pitchFamily="34" charset="0"/>
              <a:buChar char="•"/>
            </a:pPr>
            <a:r>
              <a:rPr lang="en-US" sz="1000" b="0" baseline="0" dirty="0"/>
              <a:t>Configure the cost threshold for parallelism Server Configuration Option - https://docs.microsoft.com/en-us/sql/database-engine/configure-windows/configure-the-cost-threshold-for-parallelism-server-configuration-option?view=sql-server-ver15</a:t>
            </a:r>
          </a:p>
          <a:p>
            <a:endParaRPr lang="en-US" sz="1000" b="0" baseline="0" dirty="0"/>
          </a:p>
          <a:p>
            <a:r>
              <a:rPr lang="en-US" sz="1000" b="1" baseline="0" dirty="0"/>
              <a:t>Max Worker Threads</a:t>
            </a:r>
          </a:p>
          <a:p>
            <a:r>
              <a:rPr lang="en-US" sz="1000" b="0" baseline="0" dirty="0"/>
              <a:t>This determines the number of worker threads SQL Server can use. By default, it is set to 0, meaning that SQL Server will decide the best number based on the number of CPU</a:t>
            </a:r>
            <a:r>
              <a:rPr lang="en-US" sz="1000" dirty="0"/>
              <a:t>s</a:t>
            </a:r>
            <a:r>
              <a:rPr lang="en-US" sz="1000" b="0" baseline="0" dirty="0"/>
              <a:t> on the server and the CPU architecture. As with most settings, this should rarely, if ever, be changed.   </a:t>
            </a:r>
          </a:p>
          <a:p>
            <a:endParaRPr lang="en-US" sz="1000" b="0" baseline="0"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1000" b="1" u="sng" baseline="0" dirty="0"/>
              <a:t>References:</a:t>
            </a:r>
          </a:p>
          <a:p>
            <a:pPr marL="171450" indent="-171450">
              <a:buFont typeface="Arial" panose="020B0604020202020204" pitchFamily="34" charset="0"/>
              <a:buChar char="•"/>
            </a:pPr>
            <a:r>
              <a:rPr lang="en-US" sz="1000" b="0" dirty="0"/>
              <a:t>Configure the max worker threads Server Configuration Option - </a:t>
            </a:r>
            <a:r>
              <a:rPr lang="en-US" sz="1000" b="0" u="sng" dirty="0"/>
              <a:t>https://docs.microsoft.com/en-us/sql/database-engine/configure-windows/configure-the-max-worker-threads-server-configuration-option?view=sql-server-ver15</a:t>
            </a:r>
          </a:p>
          <a:p>
            <a:pPr marL="171450" indent="-171450">
              <a:buFont typeface="Arial" panose="020B0604020202020204" pitchFamily="34" charset="0"/>
              <a:buChar char="•"/>
            </a:pPr>
            <a:r>
              <a:rPr lang="en-US" sz="1000" b="0" dirty="0"/>
              <a:t>How to determine proper SQL Server configuration settings - </a:t>
            </a:r>
            <a:r>
              <a:rPr lang="en-US" sz="1000" b="0" u="sng" dirty="0"/>
              <a:t>https://support.microsoft.com/en-us/help/319942/how-to-determine-proper-sql-server-configuration-settings</a:t>
            </a:r>
          </a:p>
          <a:p>
            <a:endParaRPr lang="en-US" sz="1000"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a:p>
        </p:txBody>
      </p:sp>
    </p:spTree>
    <p:extLst>
      <p:ext uri="{BB962C8B-B14F-4D97-AF65-F5344CB8AC3E}">
        <p14:creationId xmlns:p14="http://schemas.microsoft.com/office/powerpoint/2010/main" val="39204766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1</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8/11/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a:t>M01L01Demo01 </a:t>
            </a:r>
          </a:p>
          <a:p>
            <a:endParaRPr lang="en-US"/>
          </a:p>
          <a:p>
            <a:r>
              <a:rPr lang="en-US"/>
              <a:t>“Use Overview of </a:t>
            </a:r>
            <a:r>
              <a:rPr lang="en-US" err="1"/>
              <a:t>DMVs.sql</a:t>
            </a:r>
            <a:r>
              <a:rPr lang="en-US"/>
              <a:t>”</a:t>
            </a:r>
          </a:p>
          <a:p>
            <a:endParaRPr lang="en-US"/>
          </a:p>
          <a:p>
            <a:r>
              <a:rPr lang="en-US"/>
              <a:t>Key here is to understand why are the DMVs useful. You will be able to determine factors such as:</a:t>
            </a:r>
          </a:p>
          <a:p>
            <a:pPr marL="171450" lvl="0" indent="-171450">
              <a:buFont typeface="Arial" panose="020B0604020202020204" pitchFamily="34" charset="0"/>
              <a:buChar char="•"/>
            </a:pPr>
            <a:r>
              <a:rPr lang="en-US" sz="800" kern="1200">
                <a:solidFill>
                  <a:schemeClr val="tx1"/>
                </a:solidFill>
                <a:effectLst/>
                <a:latin typeface="Segoe UI Light" pitchFamily="34" charset="0"/>
                <a:ea typeface="+mn-ea"/>
                <a:cs typeface="+mn-cs"/>
              </a:rPr>
              <a:t>Need to add more CPUs</a:t>
            </a:r>
          </a:p>
          <a:p>
            <a:pPr marL="171450" lvl="0" indent="-171450">
              <a:buFont typeface="Arial" panose="020B0604020202020204" pitchFamily="34" charset="0"/>
              <a:buChar char="•"/>
            </a:pPr>
            <a:r>
              <a:rPr lang="en-US"/>
              <a:t>N</a:t>
            </a:r>
            <a:r>
              <a:rPr lang="en-US">
                <a:effectLst/>
              </a:rPr>
              <a:t>eed to add more memory</a:t>
            </a:r>
          </a:p>
          <a:p>
            <a:pPr marL="171450" lvl="0" indent="-171450">
              <a:buFont typeface="Arial" panose="020B0604020202020204" pitchFamily="34" charset="0"/>
              <a:buChar char="•"/>
            </a:pPr>
            <a:r>
              <a:rPr lang="en-US"/>
              <a:t>R</a:t>
            </a:r>
            <a:r>
              <a:rPr lang="en-US">
                <a:effectLst/>
              </a:rPr>
              <a:t>unning under memory pressure</a:t>
            </a:r>
          </a:p>
          <a:p>
            <a:pPr marL="171450" lvl="0" indent="-171450">
              <a:buFont typeface="Arial" panose="020B0604020202020204" pitchFamily="34" charset="0"/>
              <a:buChar char="•"/>
            </a:pPr>
            <a:r>
              <a:rPr lang="en-US"/>
              <a:t>H</a:t>
            </a:r>
            <a:r>
              <a:rPr lang="en-US">
                <a:effectLst/>
              </a:rPr>
              <a:t>ave problems with disks</a:t>
            </a:r>
          </a:p>
          <a:p>
            <a:pPr marL="171450" lvl="0" indent="-171450">
              <a:buFont typeface="Arial" panose="020B0604020202020204" pitchFamily="34" charset="0"/>
              <a:buChar char="•"/>
            </a:pPr>
            <a:r>
              <a:rPr lang="en-US"/>
              <a:t>M</a:t>
            </a:r>
            <a:r>
              <a:rPr lang="en-US">
                <a:effectLst/>
              </a:rPr>
              <a:t>ove to a 64-bit based solution</a:t>
            </a:r>
          </a:p>
          <a:p>
            <a:pPr marL="171450" lvl="0" indent="-171450">
              <a:buFont typeface="Arial" panose="020B0604020202020204" pitchFamily="34" charset="0"/>
              <a:buChar char="•"/>
            </a:pPr>
            <a:r>
              <a:rPr lang="en-US"/>
              <a:t>N</a:t>
            </a:r>
            <a:r>
              <a:rPr lang="en-US">
                <a:effectLst/>
              </a:rPr>
              <a:t>eed to change your application for query correctness reasons</a:t>
            </a:r>
          </a:p>
          <a:p>
            <a:pPr marL="171450" lvl="0" indent="-171450">
              <a:buFont typeface="Arial" panose="020B0604020202020204" pitchFamily="34" charset="0"/>
              <a:buChar char="•"/>
            </a:pPr>
            <a:r>
              <a:rPr lang="en-US"/>
              <a:t>W</a:t>
            </a:r>
            <a:r>
              <a:rPr lang="en-US">
                <a:effectLst/>
              </a:rPr>
              <a:t>hat applications are loaded into the SQL Server address space</a:t>
            </a:r>
          </a:p>
          <a:p>
            <a:pPr marL="171450" lvl="0" indent="-171450">
              <a:buFont typeface="Arial" panose="020B0604020202020204" pitchFamily="34" charset="0"/>
              <a:buChar char="•"/>
            </a:pPr>
            <a:r>
              <a:rPr lang="en-US">
                <a:effectLst/>
              </a:rPr>
              <a:t>If SQL Server is paged out and if it affects performance of your application</a:t>
            </a:r>
          </a:p>
          <a:p>
            <a:pPr marL="171450" lvl="0" indent="-171450">
              <a:buFont typeface="Arial" panose="020B0604020202020204" pitchFamily="34" charset="0"/>
              <a:buChar char="•"/>
            </a:pPr>
            <a:r>
              <a:rPr lang="en-US"/>
              <a:t>I</a:t>
            </a:r>
            <a:r>
              <a:rPr lang="en-US">
                <a:effectLst/>
              </a:rPr>
              <a:t>f your hardware is NUMA</a:t>
            </a:r>
          </a:p>
          <a:p>
            <a:pPr marL="171450" indent="-171450">
              <a:buFont typeface="Arial" panose="020B0604020202020204" pitchFamily="34" charset="0"/>
              <a:buChar char="•"/>
            </a:pPr>
            <a:r>
              <a:rPr lang="en-US"/>
              <a:t>The list goes on…</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8081503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3.xml"/><Relationship Id="rId1" Type="http://schemas.openxmlformats.org/officeDocument/2006/relationships/tags" Target="../tags/tag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470219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7081849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188914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004B1C"/>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327180877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3043624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69719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1"/>
            <a:ext cx="2844800" cy="365125"/>
          </a:xfrm>
          <a:prstGeom prst="rect">
            <a:avLst/>
          </a:prstGeom>
        </p:spPr>
        <p:txBody>
          <a:bodyPr vert="horz" lIns="182854" tIns="45713" rIns="182854" bIns="45713"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297924814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96525373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1" name="TextBox 10"/>
          <p:cNvSpPr txBox="1"/>
          <p:nvPr userDrawn="1"/>
        </p:nvSpPr>
        <p:spPr>
          <a:xfrm>
            <a:off x="298808" y="3345828"/>
            <a:ext cx="11454317" cy="3004747"/>
          </a:xfrm>
          <a:prstGeom prst="rect">
            <a:avLst/>
          </a:prstGeom>
          <a:noFill/>
          <a:ln>
            <a:noFill/>
          </a:ln>
        </p:spPr>
        <p:txBody>
          <a:bodyPr vert="horz" wrap="square" lIns="238963" tIns="179222" rIns="119483" bIns="59740" rtlCol="0" anchor="t" anchorCtr="0">
            <a:noAutofit/>
          </a:bodyPr>
          <a:lstStyle/>
          <a:p>
            <a:pPr defTabSz="597351">
              <a:lnSpc>
                <a:spcPct val="90000"/>
              </a:lnSpc>
              <a:spcAft>
                <a:spcPts val="784"/>
              </a:spcAft>
              <a:defRPr/>
            </a:pPr>
            <a:r>
              <a:rPr lang="en-US" sz="1200">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597351">
              <a:lnSpc>
                <a:spcPct val="90000"/>
              </a:lnSpc>
              <a:spcAft>
                <a:spcPts val="784"/>
              </a:spcAft>
              <a:defRPr/>
            </a:pPr>
            <a:r>
              <a:rPr lang="en-US" sz="1200">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597351">
              <a:lnSpc>
                <a:spcPct val="90000"/>
              </a:lnSpc>
              <a:spcAft>
                <a:spcPts val="392"/>
              </a:spcAft>
              <a:defRPr/>
            </a:pPr>
            <a:r>
              <a:rPr lang="en-US" sz="1200">
                <a:solidFill>
                  <a:srgbClr val="000000">
                    <a:alpha val="87000"/>
                  </a:srgbClr>
                </a:solidFill>
                <a:cs typeface="Segoe UI" panose="020B0502040204020203" pitchFamily="34" charset="0"/>
              </a:rPr>
              <a:t>For more information, see Use of Microsoft Copyrighted Content at</a:t>
            </a:r>
          </a:p>
          <a:p>
            <a:pPr algn="ctr" defTabSz="597351">
              <a:lnSpc>
                <a:spcPct val="90000"/>
              </a:lnSpc>
              <a:spcAft>
                <a:spcPts val="784"/>
              </a:spcAft>
              <a:defRPr/>
            </a:pPr>
            <a:r>
              <a:rPr lang="en-US" sz="1200" u="sng">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00">
              <a:solidFill>
                <a:prstClr val="black"/>
              </a:solidFill>
              <a:cs typeface="Segoe UI" panose="020B0502040204020203" pitchFamily="34" charset="0"/>
            </a:endParaRPr>
          </a:p>
          <a:p>
            <a:pPr defTabSz="597351">
              <a:lnSpc>
                <a:spcPct val="90000"/>
              </a:lnSpc>
              <a:spcAft>
                <a:spcPts val="784"/>
              </a:spcAft>
              <a:defRPr/>
            </a:pPr>
            <a:r>
              <a:rPr lang="en-IN" sz="1200">
                <a:solidFill>
                  <a:srgbClr val="000000">
                    <a:alpha val="87000"/>
                  </a:srgbClr>
                </a:solidFill>
                <a:cs typeface="Segoe UI" panose="020B0502040204020203" pitchFamily="34" charset="0"/>
              </a:rPr>
              <a:t>DirectX, Hyper-V, Internet Explorer, Microsoft, Outlook, OneDrive, SQL Server, Windows, Microsoft Azure, Windows PowerShell, Windows Server, Windows Vista, and 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defTabSz="597351">
              <a:lnSpc>
                <a:spcPct val="90000"/>
              </a:lnSpc>
              <a:spcAft>
                <a:spcPts val="784"/>
              </a:spcAft>
              <a:defRPr/>
            </a:pPr>
            <a:endParaRPr lang="en-US" sz="1333">
              <a:solidFill>
                <a:srgbClr val="000000">
                  <a:alpha val="87000"/>
                </a:srgbClr>
              </a:solidFill>
              <a:cs typeface="Segoe UI" panose="020B0502040204020203" pitchFamily="34" charset="0"/>
            </a:endParaRPr>
          </a:p>
        </p:txBody>
      </p:sp>
      <p:sp>
        <p:nvSpPr>
          <p:cNvPr id="13" name="TextBox 12"/>
          <p:cNvSpPr txBox="1"/>
          <p:nvPr userDrawn="1"/>
        </p:nvSpPr>
        <p:spPr>
          <a:xfrm>
            <a:off x="304668" y="101955"/>
            <a:ext cx="3087685" cy="398468"/>
          </a:xfrm>
          <a:prstGeom prst="rect">
            <a:avLst/>
          </a:prstGeom>
          <a:noFill/>
          <a:ln>
            <a:noFill/>
          </a:ln>
        </p:spPr>
        <p:txBody>
          <a:bodyPr vert="horz" wrap="none" lIns="238963" tIns="179222" rIns="119483" bIns="59740" rtlCol="0" anchor="ctr" anchorCtr="0">
            <a:noAutofit/>
          </a:bodyPr>
          <a:lstStyle/>
          <a:p>
            <a:pPr defTabSz="597351">
              <a:defRPr/>
            </a:pPr>
            <a:r>
              <a:rPr lang="en-US" sz="1467" b="1">
                <a:solidFill>
                  <a:srgbClr val="000000"/>
                </a:solidFill>
                <a:cs typeface="Segoe UI" panose="020B0502040204020203" pitchFamily="34" charset="0"/>
              </a:rPr>
              <a:t>Conditions and Terms of Use</a:t>
            </a:r>
            <a:endParaRPr lang="en-US" sz="1467">
              <a:solidFill>
                <a:srgbClr val="000000"/>
              </a:solidFill>
              <a:cs typeface="Segoe UI" panose="020B0502040204020203" pitchFamily="34" charset="0"/>
            </a:endParaRPr>
          </a:p>
        </p:txBody>
      </p:sp>
      <p:sp>
        <p:nvSpPr>
          <p:cNvPr id="14" name="TextBox 13"/>
          <p:cNvSpPr txBox="1"/>
          <p:nvPr userDrawn="1"/>
        </p:nvSpPr>
        <p:spPr>
          <a:xfrm>
            <a:off x="301740" y="2812964"/>
            <a:ext cx="3087685" cy="363312"/>
          </a:xfrm>
          <a:prstGeom prst="rect">
            <a:avLst/>
          </a:prstGeom>
          <a:noFill/>
          <a:ln>
            <a:noFill/>
          </a:ln>
        </p:spPr>
        <p:txBody>
          <a:bodyPr vert="horz" wrap="none" lIns="238963" tIns="179222" rIns="119483" bIns="59740" rtlCol="0" anchor="ctr" anchorCtr="0">
            <a:noAutofit/>
          </a:bodyPr>
          <a:lstStyle/>
          <a:p>
            <a:pPr defTabSz="597351">
              <a:defRPr/>
            </a:pPr>
            <a:r>
              <a:rPr lang="en-US" sz="1467" b="1">
                <a:solidFill>
                  <a:srgbClr val="000000"/>
                </a:solidFill>
                <a:cs typeface="Segoe UI" panose="020B0502040204020203" pitchFamily="34" charset="0"/>
              </a:rPr>
              <a:t>Copyright and Trademarks</a:t>
            </a:r>
          </a:p>
        </p:txBody>
      </p:sp>
      <p:sp>
        <p:nvSpPr>
          <p:cNvPr id="15" name="TextBox 14"/>
          <p:cNvSpPr txBox="1"/>
          <p:nvPr userDrawn="1"/>
        </p:nvSpPr>
        <p:spPr>
          <a:xfrm>
            <a:off x="298809" y="371141"/>
            <a:ext cx="3087685" cy="398468"/>
          </a:xfrm>
          <a:prstGeom prst="rect">
            <a:avLst/>
          </a:prstGeom>
          <a:noFill/>
          <a:ln>
            <a:noFill/>
          </a:ln>
        </p:spPr>
        <p:txBody>
          <a:bodyPr vert="horz" wrap="none" lIns="238963" tIns="179222" rIns="119483" bIns="59740" rtlCol="0" anchor="ctr" anchorCtr="0">
            <a:noAutofit/>
          </a:bodyPr>
          <a:lstStyle/>
          <a:p>
            <a:pPr defTabSz="597351">
              <a:defRPr/>
            </a:pPr>
            <a:r>
              <a:rPr lang="en-US" sz="1067">
                <a:solidFill>
                  <a:srgbClr val="277EB5"/>
                </a:solidFill>
                <a:cs typeface="Segoe UI" panose="020B0502040204020203" pitchFamily="34" charset="0"/>
              </a:rPr>
              <a:t>Microsoft Confidential</a:t>
            </a:r>
          </a:p>
        </p:txBody>
      </p:sp>
      <p:sp>
        <p:nvSpPr>
          <p:cNvPr id="16" name="TextBox 15"/>
          <p:cNvSpPr txBox="1"/>
          <p:nvPr userDrawn="1"/>
        </p:nvSpPr>
        <p:spPr>
          <a:xfrm>
            <a:off x="298809" y="3053501"/>
            <a:ext cx="3087685" cy="398468"/>
          </a:xfrm>
          <a:prstGeom prst="rect">
            <a:avLst/>
          </a:prstGeom>
          <a:noFill/>
          <a:ln>
            <a:noFill/>
          </a:ln>
        </p:spPr>
        <p:txBody>
          <a:bodyPr vert="horz" wrap="none" lIns="238963" tIns="179222" rIns="119483" bIns="59740" rtlCol="0" anchor="ctr" anchorCtr="0">
            <a:noAutofit/>
          </a:bodyPr>
          <a:lstStyle/>
          <a:p>
            <a:pPr defTabSz="597351">
              <a:defRPr/>
            </a:pPr>
            <a:r>
              <a:rPr lang="en-US" sz="1067">
                <a:solidFill>
                  <a:srgbClr val="277EB5"/>
                </a:solidFill>
                <a:cs typeface="Segoe UI" panose="020B0502040204020203" pitchFamily="34" charset="0"/>
              </a:rPr>
              <a:t>© 2016 Microsoft Corporation. All rights reserved.</a:t>
            </a:r>
          </a:p>
        </p:txBody>
      </p:sp>
      <p:sp>
        <p:nvSpPr>
          <p:cNvPr id="17" name="TextBox 16"/>
          <p:cNvSpPr txBox="1"/>
          <p:nvPr userDrawn="1"/>
        </p:nvSpPr>
        <p:spPr>
          <a:xfrm>
            <a:off x="298808" y="601953"/>
            <a:ext cx="11454317" cy="2390805"/>
          </a:xfrm>
          <a:prstGeom prst="rect">
            <a:avLst/>
          </a:prstGeom>
          <a:noFill/>
          <a:ln>
            <a:noFill/>
          </a:ln>
        </p:spPr>
        <p:txBody>
          <a:bodyPr vert="horz" wrap="square" lIns="238963" tIns="179222" rIns="119483" bIns="59740" rtlCol="0" anchor="t" anchorCtr="0">
            <a:normAutofit/>
          </a:bodyPr>
          <a:lstStyle/>
          <a:p>
            <a:pPr defTabSz="597351">
              <a:spcAft>
                <a:spcPts val="784"/>
              </a:spcAft>
              <a:defRPr/>
            </a:pPr>
            <a:r>
              <a:rPr lang="en-US" sz="1200">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597351">
              <a:spcAft>
                <a:spcPts val="784"/>
              </a:spcAft>
              <a:defRPr/>
            </a:pPr>
            <a:r>
              <a:rPr lang="en-US" sz="1200">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597351">
              <a:spcAft>
                <a:spcPts val="784"/>
              </a:spcAft>
              <a:defRPr/>
            </a:pPr>
            <a:r>
              <a:rPr lang="en-US" sz="1200">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597351">
              <a:spcAft>
                <a:spcPts val="784"/>
              </a:spcAft>
              <a:defRPr/>
            </a:pPr>
            <a:endParaRPr lang="en-US" sz="1333">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371406576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66386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09740665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94509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1543009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2"/>
            <a:ext cx="2844800" cy="365125"/>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6168994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381514164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518330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8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14" y="1"/>
            <a:ext cx="12448814" cy="6989885"/>
          </a:xfrm>
          <a:prstGeom prst="rect">
            <a:avLst/>
          </a:prstGeom>
        </p:spPr>
      </p:pic>
      <p:sp>
        <p:nvSpPr>
          <p:cNvPr id="10" name="Rectangle 9"/>
          <p:cNvSpPr/>
          <p:nvPr userDrawn="1"/>
        </p:nvSpPr>
        <p:spPr bwMode="auto">
          <a:xfrm>
            <a:off x="-87922" y="4"/>
            <a:ext cx="9270023" cy="6854391"/>
          </a:xfrm>
          <a:prstGeom prst="rect">
            <a:avLst/>
          </a:prstGeom>
          <a:gradFill flip="none" rotWithShape="1">
            <a:gsLst>
              <a:gs pos="64000">
                <a:schemeClr val="tx1">
                  <a:tint val="66000"/>
                  <a:satMod val="160000"/>
                  <a:lumMod val="100000"/>
                  <a:alpha val="0"/>
                </a:schemeClr>
              </a:gs>
              <a:gs pos="100000">
                <a:schemeClr val="tx1">
                  <a:alpha val="47000"/>
                </a:schemeClr>
              </a:gs>
            </a:gsLst>
            <a:path path="circle">
              <a:fillToRect l="100000" t="100000"/>
            </a:path>
            <a:tileRect r="-100000" b="-10000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3" rIns="0" bIns="46613" numCol="1" rtlCol="0" anchor="ctr" anchorCtr="0" compatLnSpc="1">
            <a:prstTxWarp prst="textNoShape">
              <a:avLst/>
            </a:prstTxWarp>
          </a:bodyPr>
          <a:lstStyle/>
          <a:p>
            <a:pPr algn="ctr" defTabSz="913491"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6" name="Rectangle 15"/>
          <p:cNvSpPr/>
          <p:nvPr userDrawn="1"/>
        </p:nvSpPr>
        <p:spPr bwMode="auto">
          <a:xfrm>
            <a:off x="22353" y="1350387"/>
            <a:ext cx="12206593" cy="3642658"/>
          </a:xfrm>
          <a:prstGeom prst="rect">
            <a:avLst/>
          </a:prstGeom>
          <a:solidFill>
            <a:schemeClr val="accent2">
              <a:lumMod val="75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9"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269306" y="1404308"/>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269306" y="3199940"/>
            <a:ext cx="5042927" cy="1793105"/>
          </a:xfrm>
          <a:noFill/>
        </p:spPr>
        <p:txBody>
          <a:bodyPr lIns="149216" tIns="111912" rIns="149216" bIns="111912">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4307721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19216"/>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19216"/>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579324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605241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86367530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60"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783277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60"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97522027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3" y="3524"/>
            <a:ext cx="6858000" cy="6858000"/>
          </a:xfrm>
          <a:no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2846368018"/>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3240914"/>
      </p:ext>
    </p:extLst>
  </p:cSld>
  <p:clrMapOvr>
    <a:masterClrMapping/>
  </p:clrMapOvr>
  <p:hf sldNum="0" hdr="0" ftr="0" dt="0"/>
  <p:extLst>
    <p:ext uri="{DCECCB84-F9BA-43D5-87BE-67443E8EF086}">
      <p15:sldGuideLst xmlns:p15="http://schemas.microsoft.com/office/powerpoint/2012/main">
        <p15:guide id="10" pos="413" userDrawn="1">
          <p15:clr>
            <a:srgbClr val="547EBF"/>
          </p15:clr>
        </p15:guide>
        <p15:guide id="11" orient="horz" pos="789" userDrawn="1">
          <p15:clr>
            <a:srgbClr val="547EBF"/>
          </p15:clr>
        </p15:guide>
        <p15:guide id="12" orient="horz" pos="887" userDrawn="1">
          <p15:clr>
            <a:srgbClr val="547EBF"/>
          </p15:clr>
        </p15:guide>
        <p15:guide id="13" pos="3742" userDrawn="1">
          <p15:clr>
            <a:srgbClr val="547EBF"/>
          </p15:clr>
        </p15:guide>
        <p15:guide id="14" pos="3938" userDrawn="1">
          <p15:clr>
            <a:srgbClr val="547EBF"/>
          </p15:clr>
        </p15:guide>
        <p15:guide id="15" pos="7267" userDrawn="1">
          <p15:clr>
            <a:srgbClr val="547EBF"/>
          </p15:clr>
        </p15:guide>
        <p15:guide id="16" orient="horz" pos="495" userDrawn="1">
          <p15:clr>
            <a:srgbClr val="547EBF"/>
          </p15:clr>
        </p15:guide>
        <p15:guide id="17" orient="horz" pos="202" userDrawn="1">
          <p15:clr>
            <a:srgbClr val="547EBF"/>
          </p15:clr>
        </p15:guide>
        <p15:guide id="18" orient="horz" pos="3923" userDrawn="1">
          <p15:clr>
            <a:srgbClr val="547EBF"/>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9"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bg1"/>
                </a:solidFill>
              </a:defRPr>
            </a:lvl1pPr>
            <a:lvl2pPr marL="0" indent="0" algn="l" defTabSz="932508">
              <a:lnSpc>
                <a:spcPct val="100000"/>
              </a:lnSpc>
              <a:spcBef>
                <a:spcPts val="672"/>
              </a:spcBef>
              <a:buFontTx/>
              <a:buNone/>
              <a:defRPr sz="2200" baseline="0">
                <a:solidFill>
                  <a:schemeClr val="bg1"/>
                </a:solidFill>
              </a:defRPr>
            </a:lvl2pPr>
            <a:lvl3pPr marL="0" indent="0" algn="l" defTabSz="932508">
              <a:lnSpc>
                <a:spcPct val="100000"/>
              </a:lnSpc>
              <a:spcBef>
                <a:spcPts val="672"/>
              </a:spcBef>
              <a:buFontTx/>
              <a:buNone/>
              <a:defRPr sz="2200" baseline="0">
                <a:solidFill>
                  <a:schemeClr val="bg1"/>
                </a:solidFill>
              </a:defRPr>
            </a:lvl3pPr>
            <a:lvl4pPr marL="0" indent="0" algn="l" defTabSz="93250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508">
              <a:lnSpc>
                <a:spcPct val="100000"/>
              </a:lnSpc>
              <a:spcBef>
                <a:spcPts val="672"/>
              </a:spcBef>
              <a:buFontTx/>
              <a:buNone/>
              <a:defRPr sz="2200" baseline="0">
                <a:solidFill>
                  <a:schemeClr val="bg1"/>
                </a:solidFill>
              </a:defRPr>
            </a:lvl6pPr>
            <a:lvl7pPr marL="0" indent="0" algn="l" defTabSz="932508">
              <a:lnSpc>
                <a:spcPct val="100000"/>
              </a:lnSpc>
              <a:spcBef>
                <a:spcPts val="672"/>
              </a:spcBef>
              <a:buFontTx/>
              <a:buNone/>
              <a:defRPr sz="2200" baseline="0">
                <a:solidFill>
                  <a:schemeClr val="bg1"/>
                </a:solidFill>
              </a:defRPr>
            </a:lvl7pPr>
            <a:lvl8pPr marL="0" indent="0" algn="l" defTabSz="932508">
              <a:lnSpc>
                <a:spcPct val="100000"/>
              </a:lnSpc>
              <a:spcBef>
                <a:spcPts val="672"/>
              </a:spcBef>
              <a:buFontTx/>
              <a:buNone/>
              <a:defRPr sz="2200" baseline="0">
                <a:solidFill>
                  <a:schemeClr val="bg1"/>
                </a:solidFill>
              </a:defRPr>
            </a:lvl8pPr>
            <a:lvl9pPr marL="0" indent="0" algn="l" defTabSz="93250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3" y="3524"/>
            <a:ext cx="6858000" cy="6854476"/>
          </a:xfrm>
          <a:solidFill>
            <a:srgbClr val="0078D4"/>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2118144365"/>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9942583"/>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508">
              <a:lnSpc>
                <a:spcPct val="100000"/>
              </a:lnSpc>
              <a:spcBef>
                <a:spcPts val="672"/>
              </a:spcBef>
              <a:buFontTx/>
              <a:buNone/>
              <a:defRPr sz="2200" baseline="0">
                <a:solidFill>
                  <a:schemeClr val="bg1"/>
                </a:solidFill>
              </a:defRPr>
            </a:lvl1pPr>
            <a:lvl2pPr marL="0" indent="0" algn="l" defTabSz="932508">
              <a:lnSpc>
                <a:spcPct val="100000"/>
              </a:lnSpc>
              <a:spcBef>
                <a:spcPts val="672"/>
              </a:spcBef>
              <a:buFontTx/>
              <a:buNone/>
              <a:defRPr sz="2200" baseline="0">
                <a:solidFill>
                  <a:schemeClr val="bg1"/>
                </a:solidFill>
              </a:defRPr>
            </a:lvl2pPr>
            <a:lvl3pPr marL="0" indent="0" algn="l" defTabSz="932508">
              <a:lnSpc>
                <a:spcPct val="100000"/>
              </a:lnSpc>
              <a:spcBef>
                <a:spcPts val="672"/>
              </a:spcBef>
              <a:buFontTx/>
              <a:buNone/>
              <a:defRPr sz="2200" baseline="0">
                <a:solidFill>
                  <a:schemeClr val="bg1"/>
                </a:solidFill>
              </a:defRPr>
            </a:lvl3pPr>
            <a:lvl4pPr marL="0" indent="0" algn="l" defTabSz="93250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508">
              <a:lnSpc>
                <a:spcPct val="100000"/>
              </a:lnSpc>
              <a:spcBef>
                <a:spcPts val="672"/>
              </a:spcBef>
              <a:buFontTx/>
              <a:buNone/>
              <a:defRPr sz="2200" baseline="0">
                <a:solidFill>
                  <a:schemeClr val="bg1"/>
                </a:solidFill>
              </a:defRPr>
            </a:lvl6pPr>
            <a:lvl7pPr marL="0" indent="0" algn="l" defTabSz="932508">
              <a:lnSpc>
                <a:spcPct val="100000"/>
              </a:lnSpc>
              <a:spcBef>
                <a:spcPts val="672"/>
              </a:spcBef>
              <a:buFontTx/>
              <a:buNone/>
              <a:defRPr sz="2200" baseline="0">
                <a:solidFill>
                  <a:schemeClr val="bg1"/>
                </a:solidFill>
              </a:defRPr>
            </a:lvl7pPr>
            <a:lvl8pPr marL="0" indent="0" algn="l" defTabSz="932508">
              <a:lnSpc>
                <a:spcPct val="100000"/>
              </a:lnSpc>
              <a:spcBef>
                <a:spcPts val="672"/>
              </a:spcBef>
              <a:buFontTx/>
              <a:buNone/>
              <a:defRPr sz="2200" baseline="0">
                <a:solidFill>
                  <a:schemeClr val="bg1"/>
                </a:solidFill>
              </a:defRPr>
            </a:lvl8pPr>
            <a:lvl9pPr marL="0" indent="0" algn="l" defTabSz="93250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1279822791"/>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2674181965"/>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5017824"/>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95910873"/>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73779908"/>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5"/>
            <a:ext cx="10880726" cy="4819650"/>
          </a:xfrm>
          <a:prstGeom prst="rect">
            <a:avLst/>
          </a:prstGeom>
        </p:spPr>
        <p:txBody>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83859386"/>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4"/>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7" y="1408114"/>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8975561"/>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4"/>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7" y="1408114"/>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8652629"/>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515371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772198996"/>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689837662"/>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475460514"/>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81482280"/>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512395552"/>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7421884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1"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01353148"/>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4"/>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97451312"/>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4"/>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142089965"/>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4"/>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9" y="630238"/>
            <a:ext cx="4352925" cy="5597525"/>
          </a:xfrm>
          <a:prstGeom prst="rect">
            <a:avLst/>
          </a:prstGeom>
        </p:spPr>
        <p:txBody>
          <a:bodyPr vert="horz" lIns="0" tIns="0" rIns="0" bIns="0" rtlCol="0">
            <a:normAutofit/>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61524"/>
          </a:xfrm>
          <a:solidFill>
            <a:srgbClr val="243A5E"/>
          </a:solidFill>
        </p:spPr>
        <p:txBody>
          <a:bodyPr tIns="18288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79504507"/>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78427994"/>
      </p:ext>
    </p:extLst>
  </p:cSld>
  <p:clrMapOvr>
    <a:masterClrMapping/>
  </p:clrMapOvr>
  <p:hf sldNum="0" hdr="0" ftr="0" dt="0"/>
  <p:extLst>
    <p:ext uri="{DCECCB84-F9BA-43D5-87BE-67443E8EF086}">
      <p15:sldGuideLst xmlns:p15="http://schemas.microsoft.com/office/powerpoint/2012/main">
        <p15:guide id="30" pos="3742" userDrawn="1">
          <p15:clr>
            <a:srgbClr val="547EBF"/>
          </p15:clr>
        </p15:guide>
        <p15:guide id="31" orient="horz" pos="887" userDrawn="1">
          <p15:clr>
            <a:srgbClr val="547EBF"/>
          </p15:clr>
        </p15:guide>
        <p15:guide id="32" pos="3938" userDrawn="1">
          <p15:clr>
            <a:srgbClr val="547EBF"/>
          </p15:clr>
        </p15:guide>
        <p15:guide id="33" pos="3350" userDrawn="1">
          <p15:clr>
            <a:srgbClr val="A4A3A4"/>
          </p15:clr>
        </p15:guide>
        <p15:guide id="34" pos="3155" userDrawn="1">
          <p15:clr>
            <a:srgbClr val="A4A3A4"/>
          </p15:clr>
        </p15:guide>
        <p15:guide id="35" pos="2763" userDrawn="1">
          <p15:clr>
            <a:srgbClr val="A4A3A4"/>
          </p15:clr>
        </p15:guide>
        <p15:guide id="36" pos="2567" userDrawn="1">
          <p15:clr>
            <a:srgbClr val="A4A3A4"/>
          </p15:clr>
        </p15:guide>
        <p15:guide id="37" pos="2175" userDrawn="1">
          <p15:clr>
            <a:srgbClr val="A4A3A4"/>
          </p15:clr>
        </p15:guide>
        <p15:guide id="38" pos="1980" userDrawn="1">
          <p15:clr>
            <a:srgbClr val="A4A3A4"/>
          </p15:clr>
        </p15:guide>
        <p15:guide id="39" pos="1588" userDrawn="1">
          <p15:clr>
            <a:srgbClr val="A4A3A4"/>
          </p15:clr>
        </p15:guide>
        <p15:guide id="40" pos="1392" userDrawn="1">
          <p15:clr>
            <a:srgbClr val="A4A3A4"/>
          </p15:clr>
        </p15:guide>
        <p15:guide id="41" pos="1000" userDrawn="1">
          <p15:clr>
            <a:srgbClr val="A4A3A4"/>
          </p15:clr>
        </p15:guide>
        <p15:guide id="42" pos="804" userDrawn="1">
          <p15:clr>
            <a:srgbClr val="A4A3A4"/>
          </p15:clr>
        </p15:guide>
        <p15:guide id="43" pos="413" userDrawn="1">
          <p15:clr>
            <a:srgbClr val="547EBF"/>
          </p15:clr>
        </p15:guide>
        <p15:guide id="44" pos="4330" userDrawn="1">
          <p15:clr>
            <a:srgbClr val="A4A3A4"/>
          </p15:clr>
        </p15:guide>
        <p15:guide id="45" pos="4525" userDrawn="1">
          <p15:clr>
            <a:srgbClr val="A4A3A4"/>
          </p15:clr>
        </p15:guide>
        <p15:guide id="46" pos="5505" userDrawn="1">
          <p15:clr>
            <a:srgbClr val="A4A3A4"/>
          </p15:clr>
        </p15:guide>
        <p15:guide id="47" pos="5113" userDrawn="1">
          <p15:clr>
            <a:srgbClr val="A4A3A4"/>
          </p15:clr>
        </p15:guide>
        <p15:guide id="48" pos="4917" userDrawn="1">
          <p15:clr>
            <a:srgbClr val="A4A3A4"/>
          </p15:clr>
        </p15:guide>
        <p15:guide id="49" pos="5700" userDrawn="1">
          <p15:clr>
            <a:srgbClr val="A4A3A4"/>
          </p15:clr>
        </p15:guide>
        <p15:guide id="50" pos="6092" userDrawn="1">
          <p15:clr>
            <a:srgbClr val="A4A3A4"/>
          </p15:clr>
        </p15:guide>
        <p15:guide id="51" pos="6288" userDrawn="1">
          <p15:clr>
            <a:srgbClr val="A4A3A4"/>
          </p15:clr>
        </p15:guide>
        <p15:guide id="52" pos="6680" userDrawn="1">
          <p15:clr>
            <a:srgbClr val="A4A3A4"/>
          </p15:clr>
        </p15:guide>
        <p15:guide id="53" pos="6876" userDrawn="1">
          <p15:clr>
            <a:srgbClr val="A4A3A4"/>
          </p15:clr>
        </p15:guide>
        <p15:guide id="54" pos="7267" userDrawn="1">
          <p15:clr>
            <a:srgbClr val="547EBF"/>
          </p15:clr>
        </p15:guide>
        <p15:guide id="55" orient="horz" pos="3923" userDrawn="1">
          <p15:clr>
            <a:srgbClr val="547EBF"/>
          </p15:clr>
        </p15:guide>
        <p15:guide id="56" orient="horz" pos="789" userDrawn="1">
          <p15:clr>
            <a:srgbClr val="547EBF"/>
          </p15:clr>
        </p15:guide>
        <p15:guide id="57" orient="horz" pos="202" userDrawn="1">
          <p15:clr>
            <a:srgbClr val="547EBF"/>
          </p15:clr>
        </p15:guide>
        <p15:guide id="58" orient="horz" pos="495" userDrawn="1">
          <p15:clr>
            <a:srgbClr val="547EBF"/>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8" y="2979739"/>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61524"/>
          </a:xfrm>
          <a:solidFill>
            <a:srgbClr val="243A5E"/>
          </a:solidFill>
        </p:spPr>
        <p:txBody>
          <a:bodyPr tIns="18288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74506608"/>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1" y="1"/>
            <a:ext cx="12191682" cy="4672013"/>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34154738"/>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1"/>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1" y="2030414"/>
            <a:ext cx="12191682" cy="4827586"/>
          </a:xfrm>
          <a:solidFill>
            <a:srgbClr val="243A5E"/>
          </a:solidFill>
        </p:spPr>
        <p:txBody>
          <a:bodyPr tIns="1005840" anchor="t">
            <a:noAutofit/>
          </a:bodyPr>
          <a:lstStyle>
            <a:lvl1pPr marL="0" marR="0" indent="0" algn="ctr" defTabSz="93250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14508917"/>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3"/>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6"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3373922"/>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3"/>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6"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33976965"/>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5"/>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05465"/>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2"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9"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32084011"/>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5"/>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05465"/>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2"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9"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53627210"/>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9" y="4672015"/>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5"/>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9"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3"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1"/>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3326056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9" y="4672015"/>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5"/>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9"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3"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1"/>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63938611"/>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9" y="1436688"/>
            <a:ext cx="7181850" cy="4832350"/>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1"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43" indent="-168243">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24098913"/>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082325972"/>
      </p:ext>
    </p:extLst>
  </p:cSld>
  <p:clrMapOvr>
    <a:masterClrMapping/>
  </p:clrMapOvr>
  <p:hf sldNum="0" hdr="0" ftr="0" dt="0"/>
  <p:extLst>
    <p:ext uri="{DCECCB84-F9BA-43D5-87BE-67443E8EF086}">
      <p15:sldGuideLst xmlns:p15="http://schemas.microsoft.com/office/powerpoint/2012/main">
        <p15:guide id="30" pos="413" userDrawn="1">
          <p15:clr>
            <a:srgbClr val="547EBF"/>
          </p15:clr>
        </p15:guide>
        <p15:guide id="31" orient="horz" pos="887" userDrawn="1">
          <p15:clr>
            <a:srgbClr val="547EBF"/>
          </p15:clr>
        </p15:guide>
        <p15:guide id="32" orient="horz" pos="789" userDrawn="1">
          <p15:clr>
            <a:srgbClr val="547EBF"/>
          </p15:clr>
        </p15:guide>
        <p15:guide id="33" orient="horz" pos="495" userDrawn="1">
          <p15:clr>
            <a:srgbClr val="547EBF"/>
          </p15:clr>
        </p15:guide>
        <p15:guide id="34" orient="horz" pos="202" userDrawn="1">
          <p15:clr>
            <a:srgbClr val="547EBF"/>
          </p15:clr>
        </p15:guide>
        <p15:guide id="35" orient="horz" pos="3923" userDrawn="1">
          <p15:clr>
            <a:srgbClr val="547EBF"/>
          </p15:clr>
        </p15:guide>
        <p15:guide id="36" pos="804" userDrawn="1">
          <p15:clr>
            <a:srgbClr val="A4A3A4"/>
          </p15:clr>
        </p15:guide>
        <p15:guide id="37" pos="1000" userDrawn="1">
          <p15:clr>
            <a:srgbClr val="A4A3A4"/>
          </p15:clr>
        </p15:guide>
        <p15:guide id="38" pos="1392" userDrawn="1">
          <p15:clr>
            <a:srgbClr val="A4A3A4"/>
          </p15:clr>
        </p15:guide>
        <p15:guide id="39" pos="1588" userDrawn="1">
          <p15:clr>
            <a:srgbClr val="A4A3A4"/>
          </p15:clr>
        </p15:guide>
        <p15:guide id="40" pos="1980" userDrawn="1">
          <p15:clr>
            <a:srgbClr val="A4A3A4"/>
          </p15:clr>
        </p15:guide>
        <p15:guide id="41" pos="2175" userDrawn="1">
          <p15:clr>
            <a:srgbClr val="A4A3A4"/>
          </p15:clr>
        </p15:guide>
        <p15:guide id="42" pos="2567" userDrawn="1">
          <p15:clr>
            <a:srgbClr val="A4A3A4"/>
          </p15:clr>
        </p15:guide>
        <p15:guide id="43" pos="2763" userDrawn="1">
          <p15:clr>
            <a:srgbClr val="A4A3A4"/>
          </p15:clr>
        </p15:guide>
        <p15:guide id="44" pos="3155" userDrawn="1">
          <p15:clr>
            <a:srgbClr val="A4A3A4"/>
          </p15:clr>
        </p15:guide>
        <p15:guide id="45" pos="3350" userDrawn="1">
          <p15:clr>
            <a:srgbClr val="A4A3A4"/>
          </p15:clr>
        </p15:guide>
        <p15:guide id="46" pos="3742" userDrawn="1">
          <p15:clr>
            <a:srgbClr val="547EBF"/>
          </p15:clr>
        </p15:guide>
        <p15:guide id="47" pos="3938" userDrawn="1">
          <p15:clr>
            <a:srgbClr val="547EBF"/>
          </p15:clr>
        </p15:guide>
        <p15:guide id="48" pos="4330" userDrawn="1">
          <p15:clr>
            <a:srgbClr val="A4A3A4"/>
          </p15:clr>
        </p15:guide>
        <p15:guide id="49" pos="4525" userDrawn="1">
          <p15:clr>
            <a:srgbClr val="A4A3A4"/>
          </p15:clr>
        </p15:guide>
        <p15:guide id="50" pos="5113" userDrawn="1">
          <p15:clr>
            <a:srgbClr val="A4A3A4"/>
          </p15:clr>
        </p15:guide>
        <p15:guide id="51" pos="4917" userDrawn="1">
          <p15:clr>
            <a:srgbClr val="A4A3A4"/>
          </p15:clr>
        </p15:guide>
        <p15:guide id="52" pos="5505" userDrawn="1">
          <p15:clr>
            <a:srgbClr val="A4A3A4"/>
          </p15:clr>
        </p15:guide>
        <p15:guide id="53" pos="5700" userDrawn="1">
          <p15:clr>
            <a:srgbClr val="A4A3A4"/>
          </p15:clr>
        </p15:guide>
        <p15:guide id="54" pos="6092" userDrawn="1">
          <p15:clr>
            <a:srgbClr val="A4A3A4"/>
          </p15:clr>
        </p15:guide>
        <p15:guide id="55" pos="6288" userDrawn="1">
          <p15:clr>
            <a:srgbClr val="A4A3A4"/>
          </p15:clr>
        </p15:guide>
        <p15:guide id="56" pos="6680" userDrawn="1">
          <p15:clr>
            <a:srgbClr val="A4A3A4"/>
          </p15:clr>
        </p15:guide>
        <p15:guide id="57" pos="6876" userDrawn="1">
          <p15:clr>
            <a:srgbClr val="A4A3A4"/>
          </p15:clr>
        </p15:guide>
        <p15:guide id="58" pos="7267" userDrawn="1">
          <p15:clr>
            <a:srgbClr val="547EBF"/>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9" y="1436688"/>
            <a:ext cx="7181850" cy="4832350"/>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1"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43" indent="-168243">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8551312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8" y="786383"/>
            <a:ext cx="6735763"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293"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9" y="1397002"/>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529" indent="-342834">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42094962"/>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8" y="630239"/>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9"/>
            <a:ext cx="6527800" cy="5597525"/>
          </a:xfrm>
          <a:prstGeom prst="rect">
            <a:avLst/>
          </a:prstGeom>
        </p:spPr>
        <p:txBody>
          <a:bodyPr anchor="ctr" anchorCtr="0">
            <a:noAutofit/>
          </a:bodyPr>
          <a:lstStyle>
            <a:lvl1pPr marL="457112" indent="-457112">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96489978"/>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1"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9"/>
            <a:ext cx="6527800" cy="5597525"/>
          </a:xfrm>
          <a:prstGeom prst="rect">
            <a:avLst/>
          </a:prstGeom>
        </p:spPr>
        <p:txBody>
          <a:bodyPr anchor="ctr" anchorCtr="0">
            <a:noAutofit/>
          </a:bodyPr>
          <a:lstStyle>
            <a:lvl1pPr marL="457112" indent="-457112">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30858671"/>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9"/>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358" indent="0">
              <a:spcBef>
                <a:spcPts val="330"/>
              </a:spcBef>
              <a:buFontTx/>
              <a:buNone/>
              <a:defRPr sz="1800" baseline="0">
                <a:solidFill>
                  <a:schemeClr val="tx1"/>
                </a:solidFill>
                <a:latin typeface="Comic Sans MS" panose="030F0702030302020204" pitchFamily="66" charset="0"/>
              </a:defRPr>
            </a:lvl6pPr>
            <a:lvl7pPr marL="1051358" indent="0">
              <a:spcBef>
                <a:spcPts val="330"/>
              </a:spcBef>
              <a:buFontTx/>
              <a:buNone/>
              <a:defRPr sz="1800" baseline="0">
                <a:solidFill>
                  <a:schemeClr val="tx1"/>
                </a:solidFill>
                <a:latin typeface="Comic Sans MS" panose="030F0702030302020204" pitchFamily="66" charset="0"/>
              </a:defRPr>
            </a:lvl7pPr>
            <a:lvl8pPr marL="1051358" indent="0">
              <a:spcBef>
                <a:spcPts val="330"/>
              </a:spcBef>
              <a:buFontTx/>
              <a:buNone/>
              <a:defRPr sz="1800" baseline="0">
                <a:solidFill>
                  <a:schemeClr val="tx1"/>
                </a:solidFill>
                <a:latin typeface="Comic Sans MS" panose="030F0702030302020204" pitchFamily="66" charset="0"/>
              </a:defRPr>
            </a:lvl8pPr>
            <a:lvl9pPr marL="1051358"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8274674"/>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9"/>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358" indent="0">
              <a:spcBef>
                <a:spcPts val="330"/>
              </a:spcBef>
              <a:buFontTx/>
              <a:buNone/>
              <a:defRPr sz="1800" baseline="0">
                <a:solidFill>
                  <a:schemeClr val="tx1"/>
                </a:solidFill>
                <a:latin typeface="Comic Sans MS" panose="030F0702030302020204" pitchFamily="66" charset="0"/>
              </a:defRPr>
            </a:lvl6pPr>
            <a:lvl7pPr marL="1051358" indent="0">
              <a:spcBef>
                <a:spcPts val="330"/>
              </a:spcBef>
              <a:buFontTx/>
              <a:buNone/>
              <a:defRPr sz="1800" baseline="0">
                <a:solidFill>
                  <a:schemeClr val="tx1"/>
                </a:solidFill>
                <a:latin typeface="Comic Sans MS" panose="030F0702030302020204" pitchFamily="66" charset="0"/>
              </a:defRPr>
            </a:lvl7pPr>
            <a:lvl8pPr marL="1051358" indent="0">
              <a:spcBef>
                <a:spcPts val="330"/>
              </a:spcBef>
              <a:buFontTx/>
              <a:buNone/>
              <a:defRPr sz="1800" baseline="0">
                <a:solidFill>
                  <a:schemeClr val="tx1"/>
                </a:solidFill>
                <a:latin typeface="Comic Sans MS" panose="030F0702030302020204" pitchFamily="66" charset="0"/>
              </a:defRPr>
            </a:lvl8pPr>
            <a:lvl9pPr marL="1051358"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469703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0766570"/>
      </p:ext>
    </p:extLst>
  </p:cSld>
  <p:clrMapOvr>
    <a:masterClrMapping/>
  </p:clrMapOvr>
  <p:hf sldNum="0" hdr="0" ftr="0" dt="0"/>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2583650"/>
      </p:ext>
    </p:extLst>
  </p:cSld>
  <p:clrMapOvr>
    <a:masterClrMapping/>
  </p:clrMapOvr>
  <p:hf sldNum="0" hdr="0" ftr="0" dt="0"/>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14" tIns="45706" rIns="91414" bIns="45706"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972382724"/>
      </p:ext>
    </p:extLst>
  </p:cSld>
  <p:clrMapOvr>
    <a:masterClrMapping/>
  </p:clrMapOvr>
  <p:hf sldNum="0" hdr="0" ftr="0" dt="0"/>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1191646148"/>
      </p:ext>
    </p:extLst>
  </p:cSld>
  <p:clrMapOvr>
    <a:masterClrMapping/>
  </p:clrMapOvr>
  <p:hf sldNum="0" hdr="0" ftr="0" dt="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65962699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9" y="1436689"/>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3931" indent="-164560">
              <a:spcBef>
                <a:spcPts val="330"/>
              </a:spcBef>
              <a:defRPr sz="1800" baseline="0"/>
            </a:lvl6pPr>
            <a:lvl7pPr marL="1023931" indent="-164560">
              <a:spcBef>
                <a:spcPts val="330"/>
              </a:spcBef>
              <a:defRPr sz="1800" baseline="0"/>
            </a:lvl7pPr>
            <a:lvl8pPr marL="1023931" indent="-164560">
              <a:spcBef>
                <a:spcPts val="330"/>
              </a:spcBef>
              <a:defRPr sz="1800" baseline="0"/>
            </a:lvl8pPr>
            <a:lvl9pPr marL="1023931" indent="-164560">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91039936"/>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720343"/>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305973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54133754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198557511"/>
      </p:ext>
    </p:extLst>
  </p:cSld>
  <p:clrMapOvr>
    <a:masterClrMapping/>
  </p:clrMapOvr>
  <p:hf sldNum="0" hdr="0" ftr="0" dt="0"/>
  <p:extLst>
    <p:ext uri="{DCECCB84-F9BA-43D5-87BE-67443E8EF086}">
      <p15:sldGuideLst xmlns:p15="http://schemas.microsoft.com/office/powerpoint/2012/main">
        <p15:guide id="6" pos="413" userDrawn="1">
          <p15:clr>
            <a:srgbClr val="547EBF"/>
          </p15:clr>
        </p15:guide>
        <p15:guide id="7" pos="6092" userDrawn="1">
          <p15:clr>
            <a:srgbClr val="547EBF"/>
          </p15:clr>
        </p15:guide>
        <p15:guide id="8" orient="horz" pos="2160" userDrawn="1">
          <p15:clr>
            <a:srgbClr val="547EBF"/>
          </p15:clr>
        </p15:guide>
        <p15:guide id="9" orient="horz" pos="2258" userDrawn="1">
          <p15:clr>
            <a:srgbClr val="547EBF"/>
          </p15:clr>
        </p15:guide>
        <p15:guide id="10" orient="horz" pos="1866"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903848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6453520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86417161"/>
      </p:ext>
    </p:extLst>
  </p:cSld>
  <p:clrMapOvr>
    <a:masterClrMapping/>
  </p:clrMapOvr>
  <p:hf sldNum="0" hdr="0" ftr="0" dt="0"/>
  <p:extLst>
    <p:ext uri="{DCECCB84-F9BA-43D5-87BE-67443E8EF086}">
      <p15:sldGuideLst xmlns:p15="http://schemas.microsoft.com/office/powerpoint/2012/main">
        <p15:guide id="17" orient="horz" pos="1964" userDrawn="1">
          <p15:clr>
            <a:srgbClr val="547EBF"/>
          </p15:clr>
        </p15:guide>
        <p15:guide id="18" orient="horz" pos="2258" userDrawn="1">
          <p15:clr>
            <a:srgbClr val="547EBF"/>
          </p15:clr>
        </p15:guide>
        <p15:guide id="19" pos="3350" userDrawn="1">
          <p15:clr>
            <a:srgbClr val="547EBF"/>
          </p15:clr>
        </p15:guide>
        <p15:guide id="20" pos="3155" userDrawn="1">
          <p15:clr>
            <a:srgbClr val="547EBF"/>
          </p15:clr>
        </p15:guide>
        <p15:guide id="21" pos="413" userDrawn="1">
          <p15:clr>
            <a:srgbClr val="547EBF"/>
          </p15:clr>
        </p15:guide>
        <p15:guide id="22" orient="horz" pos="397" userDrawn="1">
          <p15:clr>
            <a:srgbClr val="547EBF"/>
          </p15:clr>
        </p15:guide>
        <p15:guide id="23" orient="horz" pos="3923" userDrawn="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01684691"/>
      </p:ext>
    </p:extLst>
  </p:cSld>
  <p:clrMapOvr>
    <a:masterClrMapping/>
  </p:clrMapOvr>
  <p:hf sldNum="0" hdr="0" ftr="0" dt="0"/>
  <p:extLst>
    <p:ext uri="{DCECCB84-F9BA-43D5-87BE-67443E8EF086}">
      <p15:sldGuideLst xmlns:p15="http://schemas.microsoft.com/office/powerpoint/2012/main">
        <p15:guide id="17" orient="horz" pos="864" userDrawn="1">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1809322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41822652"/>
      </p:ext>
    </p:extLst>
  </p:cSld>
  <p:clrMapOvr>
    <a:masterClrMapping/>
  </p:clrMapOvr>
  <p:hf sldNum="0" hdr="0" ftr="0" dt="0"/>
  <p:extLst>
    <p:ext uri="{DCECCB84-F9BA-43D5-87BE-67443E8EF086}">
      <p15:sldGuideLst xmlns:p15="http://schemas.microsoft.com/office/powerpoint/2012/main">
        <p15:guide id="10" orient="horz" pos="397" userDrawn="1">
          <p15:clr>
            <a:srgbClr val="547EBF"/>
          </p15:clr>
        </p15:guide>
        <p15:guide id="11" pos="3155" userDrawn="1">
          <p15:clr>
            <a:srgbClr val="547EBF"/>
          </p15:clr>
        </p15:guide>
        <p15:guide id="12" pos="3350" userDrawn="1">
          <p15:clr>
            <a:srgbClr val="547EBF"/>
          </p15:clr>
        </p15:guide>
        <p15:guide id="13" pos="413" userDrawn="1">
          <p15:clr>
            <a:srgbClr val="547EBF"/>
          </p15:clr>
        </p15:guide>
        <p15:guide id="14" orient="horz" pos="3923"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16159362"/>
      </p:ext>
    </p:extLst>
  </p:cSld>
  <p:clrMapOvr>
    <a:masterClrMapping/>
  </p:clrMapOvr>
  <p:hf sldNum="0" hdr="0" ftr="0" dt="0"/>
  <p:extLst>
    <p:ext uri="{DCECCB84-F9BA-43D5-87BE-67443E8EF086}">
      <p15:sldGuideLst xmlns:p15="http://schemas.microsoft.com/office/powerpoint/2012/main">
        <p15:guide id="8" orient="horz" pos="1877" userDrawn="1">
          <p15:clr>
            <a:srgbClr val="547EBF"/>
          </p15:clr>
        </p15:guide>
        <p15:guide id="9" orient="horz" pos="3923" userDrawn="1">
          <p15:clr>
            <a:srgbClr val="547EBF"/>
          </p15:clr>
        </p15:guide>
        <p15:guide id="10" pos="3350" userDrawn="1">
          <p15:clr>
            <a:srgbClr val="547EBF"/>
          </p15:clr>
        </p15:guide>
        <p15:guide id="11" pos="3155" userDrawn="1">
          <p15:clr>
            <a:srgbClr val="547EBF"/>
          </p15:clr>
        </p15:guide>
        <p15:guide id="12" pos="413"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03300898"/>
      </p:ext>
    </p:extLst>
  </p:cSld>
  <p:clrMapOvr>
    <a:masterClrMapping/>
  </p:clrMapOvr>
  <p:hf sldNum="0" hdr="0" ftr="0" dt="0"/>
  <p:extLst>
    <p:ext uri="{DCECCB84-F9BA-43D5-87BE-67443E8EF086}">
      <p15:sldGuideLst xmlns:p15="http://schemas.microsoft.com/office/powerpoint/2012/main">
        <p15:guide id="10" orient="horz" pos="2943" userDrawn="1">
          <p15:clr>
            <a:srgbClr val="547EBF"/>
          </p15:clr>
        </p15:guide>
        <p15:guide id="11" orient="horz" pos="3923" userDrawn="1">
          <p15:clr>
            <a:srgbClr val="547EBF"/>
          </p15:clr>
        </p15:guide>
        <p15:guide id="12" orient="horz" pos="3139"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63496086"/>
      </p:ext>
    </p:extLst>
  </p:cSld>
  <p:clrMapOvr>
    <a:masterClrMapping/>
  </p:clrMapOvr>
  <p:hf sldNum="0" hdr="0" ftr="0" dt="0"/>
  <p:extLst>
    <p:ext uri="{DCECCB84-F9BA-43D5-87BE-67443E8EF086}">
      <p15:sldGuideLst xmlns:p15="http://schemas.microsoft.com/office/powerpoint/2012/main">
        <p15:guide id="10" orient="horz" pos="1279" userDrawn="1">
          <p15:clr>
            <a:srgbClr val="547EBF"/>
          </p15:clr>
        </p15:guide>
        <p15:guide id="11" orient="horz" pos="397" userDrawn="1">
          <p15:clr>
            <a:srgbClr val="547EBF"/>
          </p15:clr>
        </p15:guide>
        <p15:guide id="12" orient="horz" pos="1181"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4198284"/>
      </p:ext>
    </p:extLst>
  </p:cSld>
  <p:clrMapOvr>
    <a:masterClrMapping/>
  </p:clrMapOvr>
  <p:hf sldNum="0" hdr="0" ftr="0" dt="0"/>
  <p:extLst>
    <p:ext uri="{DCECCB84-F9BA-43D5-87BE-67443E8EF086}">
      <p15:sldGuideLst xmlns:p15="http://schemas.microsoft.com/office/powerpoint/2012/main">
        <p15:guide id="15" orient="horz" pos="3433" userDrawn="1">
          <p15:clr>
            <a:srgbClr val="547EBF"/>
          </p15:clr>
        </p15:guide>
        <p15:guide id="16" orient="horz" pos="1276" userDrawn="1">
          <p15:clr>
            <a:srgbClr val="547EBF"/>
          </p15:clr>
        </p15:guide>
        <p15:guide id="17" pos="3749" userDrawn="1">
          <p15:clr>
            <a:srgbClr val="547EBF"/>
          </p15:clr>
        </p15:guide>
        <p15:guide id="18" pos="3931" userDrawn="1">
          <p15:clr>
            <a:srgbClr val="547EBF"/>
          </p15:clr>
        </p15:guide>
        <p15:guide id="19" orient="horz" pos="3531" userDrawn="1">
          <p15:clr>
            <a:srgbClr val="547EBF"/>
          </p15:clr>
        </p15:guide>
        <p15:guide id="20" orient="horz" pos="3923" userDrawn="1">
          <p15:clr>
            <a:srgbClr val="547EBF"/>
          </p15:clr>
        </p15:guide>
        <p15:guide id="21" pos="413" userDrawn="1">
          <p15:clr>
            <a:srgbClr val="547EBF"/>
          </p15:clr>
        </p15:guide>
        <p15:guide id="22" pos="7267" userDrawn="1">
          <p15:clr>
            <a:srgbClr val="547EBF"/>
          </p15:clr>
        </p15:guide>
        <p15:guide id="23" orient="horz" pos="202" userDrawn="1">
          <p15:clr>
            <a:srgbClr val="547EBF"/>
          </p15:clr>
        </p15:guide>
        <p15:guide id="24" orient="horz" pos="495" userDrawn="1">
          <p15:clr>
            <a:srgbClr val="547EBF"/>
          </p15:clr>
        </p15:guide>
        <p15:guide id="25" orient="horz" pos="789"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0144591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08169698"/>
      </p:ext>
    </p:extLst>
  </p:cSld>
  <p:clrMapOvr>
    <a:masterClrMapping/>
  </p:clrMapOvr>
  <p:hf sldNum="0" hdr="0" ftr="0" dt="0"/>
  <p:extLst>
    <p:ext uri="{DCECCB84-F9BA-43D5-87BE-67443E8EF086}">
      <p15:sldGuideLst xmlns:p15="http://schemas.microsoft.com/office/powerpoint/2012/main">
        <p15:guide id="21" orient="horz" pos="3531" userDrawn="1">
          <p15:clr>
            <a:srgbClr val="547EBF"/>
          </p15:clr>
        </p15:guide>
        <p15:guide id="22" orient="horz" pos="1279" userDrawn="1">
          <p15:clr>
            <a:srgbClr val="547EBF"/>
          </p15:clr>
        </p15:guide>
        <p15:guide id="23" orient="horz" pos="3433" userDrawn="1">
          <p15:clr>
            <a:srgbClr val="547EBF"/>
          </p15:clr>
        </p15:guide>
        <p15:guide id="24" orient="horz" pos="202" userDrawn="1">
          <p15:clr>
            <a:srgbClr val="547EBF"/>
          </p15:clr>
        </p15:guide>
        <p15:guide id="25" orient="horz" pos="495" userDrawn="1">
          <p15:clr>
            <a:srgbClr val="547EBF"/>
          </p15:clr>
        </p15:guide>
        <p15:guide id="26" orient="horz" pos="789" userDrawn="1">
          <p15:clr>
            <a:srgbClr val="547EBF"/>
          </p15:clr>
        </p15:guide>
        <p15:guide id="27" pos="413" userDrawn="1">
          <p15:clr>
            <a:srgbClr val="547EBF"/>
          </p15:clr>
        </p15:guide>
        <p15:guide id="28" pos="7267" userDrawn="1">
          <p15:clr>
            <a:srgbClr val="547EBF"/>
          </p15:clr>
        </p15:guide>
        <p15:guide id="29" orient="horz" pos="3923" userDrawn="1">
          <p15:clr>
            <a:srgbClr val="547EBF"/>
          </p15:clr>
        </p15:guide>
        <p15:guide id="30" pos="2567" userDrawn="1">
          <p15:clr>
            <a:srgbClr val="547EBF"/>
          </p15:clr>
        </p15:guide>
        <p15:guide id="31" pos="2763" userDrawn="1">
          <p15:clr>
            <a:srgbClr val="547EBF"/>
          </p15:clr>
        </p15:guide>
        <p15:guide id="32" pos="4917" userDrawn="1">
          <p15:clr>
            <a:srgbClr val="547EBF"/>
          </p15:clr>
        </p15:guide>
        <p15:guide id="33" pos="5113"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5646232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80109012"/>
      </p:ext>
    </p:extLst>
  </p:cSld>
  <p:clrMapOvr>
    <a:masterClrMapping/>
  </p:clrMapOvr>
  <p:hf sldNum="0" hdr="0" ftr="0" dt="0"/>
  <p:extLst>
    <p:ext uri="{DCECCB84-F9BA-43D5-87BE-67443E8EF086}">
      <p15:sldGuideLst xmlns:p15="http://schemas.microsoft.com/office/powerpoint/2012/main">
        <p15:guide id="18" orient="horz" pos="2943" userDrawn="1">
          <p15:clr>
            <a:srgbClr val="547EBF"/>
          </p15:clr>
        </p15:guide>
        <p15:guide id="19" orient="horz" pos="1279" userDrawn="1">
          <p15:clr>
            <a:srgbClr val="547EBF"/>
          </p15:clr>
        </p15:guide>
        <p15:guide id="20" orient="horz" pos="2845" userDrawn="1">
          <p15:clr>
            <a:srgbClr val="547EBF"/>
          </p15:clr>
        </p15:guide>
        <p15:guide id="21" orient="horz" pos="3936" userDrawn="1">
          <p15:clr>
            <a:srgbClr val="547EBF"/>
          </p15:clr>
        </p15:guide>
        <p15:guide id="22" orient="horz" pos="202" userDrawn="1">
          <p15:clr>
            <a:srgbClr val="547EBF"/>
          </p15:clr>
        </p15:guide>
        <p15:guide id="23" orient="horz" pos="495" userDrawn="1">
          <p15:clr>
            <a:srgbClr val="547EBF"/>
          </p15:clr>
        </p15:guide>
        <p15:guide id="24" orient="horz" pos="789" userDrawn="1">
          <p15:clr>
            <a:srgbClr val="547EBF"/>
          </p15:clr>
        </p15:guide>
        <p15:guide id="25" pos="413" userDrawn="1">
          <p15:clr>
            <a:srgbClr val="547EBF"/>
          </p15:clr>
        </p15:guide>
        <p15:guide id="26" pos="7267" userDrawn="1">
          <p15:clr>
            <a:srgbClr val="547EBF"/>
          </p15:clr>
        </p15:guide>
        <p15:guide id="27" pos="1980" userDrawn="1">
          <p15:clr>
            <a:srgbClr val="547EBF"/>
          </p15:clr>
        </p15:guide>
        <p15:guide id="28" pos="2175" userDrawn="1">
          <p15:clr>
            <a:srgbClr val="547EBF"/>
          </p15:clr>
        </p15:guide>
        <p15:guide id="29" pos="3742" userDrawn="1">
          <p15:clr>
            <a:srgbClr val="547EBF"/>
          </p15:clr>
        </p15:guide>
        <p15:guide id="30" pos="3938" userDrawn="1">
          <p15:clr>
            <a:srgbClr val="547EBF"/>
          </p15:clr>
        </p15:guide>
        <p15:guide id="31" pos="5700" userDrawn="1">
          <p15:clr>
            <a:srgbClr val="547EBF"/>
          </p15:clr>
        </p15:guide>
        <p15:guide id="32" pos="5505"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0460358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8333319"/>
      </p:ext>
    </p:extLst>
  </p:cSld>
  <p:clrMapOvr>
    <a:masterClrMapping/>
  </p:clrMapOvr>
  <p:extLst>
    <p:ext uri="{DCECCB84-F9BA-43D5-87BE-67443E8EF086}">
      <p15:sldGuideLst xmlns:p15="http://schemas.microsoft.com/office/powerpoint/2012/main">
        <p15:guide id="20" pos="4944" userDrawn="1">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843268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72066686"/>
      </p:ext>
    </p:extLst>
  </p:cSld>
  <p:clrMapOvr>
    <a:masterClrMapping/>
  </p:clrMapOvr>
  <p:hf sldNum="0" hdr="0" ftr="0" dt="0"/>
  <p:extLst>
    <p:ext uri="{DCECCB84-F9BA-43D5-87BE-67443E8EF086}">
      <p15:sldGuideLst xmlns:p15="http://schemas.microsoft.com/office/powerpoint/2012/main">
        <p15:guide id="36" orient="horz" pos="3936" userDrawn="1">
          <p15:clr>
            <a:srgbClr val="547EBF"/>
          </p15:clr>
        </p15:guide>
        <p15:guide id="37" pos="2376" userDrawn="1">
          <p15:clr>
            <a:srgbClr val="FFFFFF"/>
          </p15:clr>
        </p15:guide>
        <p15:guide id="38" orient="horz" pos="880" userDrawn="1">
          <p15:clr>
            <a:srgbClr val="547EBF"/>
          </p15:clr>
        </p15:guide>
        <p15:guide id="39" pos="4656" userDrawn="1">
          <p15:clr>
            <a:srgbClr val="547EBF"/>
          </p15:clr>
        </p15:guide>
        <p15:guide id="40" pos="7267" userDrawn="1">
          <p15:clr>
            <a:srgbClr val="547EBF"/>
          </p15:clr>
        </p15:guide>
        <p15:guide id="41" pos="2763" userDrawn="1">
          <p15:clr>
            <a:srgbClr val="547EBF"/>
          </p15:clr>
        </p15:guide>
        <p15:guide id="42" pos="413" userDrawn="1">
          <p15:clr>
            <a:srgbClr val="FFFFFF"/>
          </p15:clr>
        </p15:guide>
        <p15:guide id="43" pos="48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4263235"/>
      </p:ext>
    </p:extLst>
  </p:cSld>
  <p:clrMapOvr>
    <a:masterClrMapping/>
  </p:clrMapOvr>
  <p:hf sldNum="0" hdr="0" ftr="0" dt="0"/>
  <p:extLst>
    <p:ext uri="{DCECCB84-F9BA-43D5-87BE-67443E8EF086}">
      <p15:sldGuideLst xmlns:p15="http://schemas.microsoft.com/office/powerpoint/2012/main">
        <p15:guide id="8" pos="413" userDrawn="1">
          <p15:clr>
            <a:srgbClr val="547EBF"/>
          </p15:clr>
        </p15:guide>
        <p15:guide id="9" orient="horz" pos="495" userDrawn="1">
          <p15:clr>
            <a:srgbClr val="547EBF"/>
          </p15:clr>
        </p15:guide>
        <p15:guide id="10" pos="7267" userDrawn="1">
          <p15:clr>
            <a:srgbClr val="547EBF"/>
          </p15:clr>
        </p15:guide>
        <p15:guide id="11" orient="horz" pos="202" userDrawn="1">
          <p15:clr>
            <a:srgbClr val="547EBF"/>
          </p15:clr>
        </p15:guide>
        <p15:guide id="12" orient="horz" pos="789" userDrawn="1">
          <p15:clr>
            <a:srgbClr val="547EBF"/>
          </p15:clr>
        </p15:guide>
        <p15:guide id="13" orient="horz" pos="912" userDrawn="1">
          <p15:clr>
            <a:srgbClr val="547EBF"/>
          </p15:clr>
        </p15:guide>
        <p15:guide id="14" orient="horz" pos="3923"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527697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925010"/>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929380"/>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7698206"/>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8406785"/>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62339747"/>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userDrawn="1">
          <p15:clr>
            <a:srgbClr val="FFFFFF"/>
          </p15:clr>
        </p15:guide>
        <p15:guide id="10" orient="horz" pos="495" userDrawn="1">
          <p15:clr>
            <a:srgbClr val="FFFFFF"/>
          </p15:clr>
        </p15:guide>
        <p15:guide id="11" orient="horz" pos="887" userDrawn="1">
          <p15:clr>
            <a:srgbClr val="FFFFFF"/>
          </p15:clr>
        </p15:guide>
        <p15:guide id="12" orient="horz" pos="3923" userDrawn="1">
          <p15:clr>
            <a:srgbClr val="FFFFFF"/>
          </p15:clr>
        </p15:guide>
        <p15:guide id="13" pos="413" userDrawn="1">
          <p15:clr>
            <a:srgbClr val="FFFFFF"/>
          </p15:clr>
        </p15:guide>
        <p15:guide id="14" pos="7267" userDrawn="1">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241109845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25260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5260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841340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252604"/>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52604"/>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072367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27236531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1205062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In this Lesson you will learn the following:</a:t>
            </a:r>
          </a:p>
          <a:p>
            <a:pPr lvl="1"/>
            <a:r>
              <a:rPr lang="en-US"/>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5</a:t>
            </a:r>
          </a:p>
          <a:p>
            <a:pPr lvl="1"/>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Lesson Objectives</a:t>
            </a:r>
          </a:p>
        </p:txBody>
      </p:sp>
    </p:spTree>
    <p:extLst>
      <p:ext uri="{BB962C8B-B14F-4D97-AF65-F5344CB8AC3E}">
        <p14:creationId xmlns:p14="http://schemas.microsoft.com/office/powerpoint/2010/main" val="110637411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370527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862508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226924914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a:t>Microsoft Confidential</a:t>
            </a:r>
          </a:p>
        </p:txBody>
      </p:sp>
    </p:spTree>
    <p:extLst>
      <p:ext uri="{BB962C8B-B14F-4D97-AF65-F5344CB8AC3E}">
        <p14:creationId xmlns:p14="http://schemas.microsoft.com/office/powerpoint/2010/main" val="143189991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435488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092562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a:t>Microsoft Confidential</a:t>
            </a:r>
          </a:p>
        </p:txBody>
      </p:sp>
    </p:spTree>
    <p:extLst>
      <p:ext uri="{BB962C8B-B14F-4D97-AF65-F5344CB8AC3E}">
        <p14:creationId xmlns:p14="http://schemas.microsoft.com/office/powerpoint/2010/main" val="23570194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780283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621180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5746262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spTree>
    <p:extLst>
      <p:ext uri="{BB962C8B-B14F-4D97-AF65-F5344CB8AC3E}">
        <p14:creationId xmlns:p14="http://schemas.microsoft.com/office/powerpoint/2010/main" val="2205143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24238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1914975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277804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233396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a:solidFill>
                  <a:schemeClr val="tx1"/>
                </a:solidFill>
              </a:rPr>
              <a:t>Demonstration:</a:t>
            </a:r>
            <a:r>
              <a:rPr lang="en-US">
                <a:solidFill>
                  <a:schemeClr val="tx1"/>
                </a:solidFill>
              </a:rPr>
              <a:t> </a:t>
            </a:r>
            <a:br>
              <a:rPr lang="en-US">
                <a:solidFill>
                  <a:schemeClr val="tx1"/>
                </a:solidFill>
              </a:rPr>
            </a:br>
            <a:r>
              <a:rPr lang="en-US">
                <a:solidFill>
                  <a:schemeClr val="tx1"/>
                </a:solidFill>
              </a:rPr>
              <a:t>Demo Title</a:t>
            </a:r>
          </a:p>
        </p:txBody>
      </p:sp>
    </p:spTree>
    <p:extLst>
      <p:ext uri="{BB962C8B-B14F-4D97-AF65-F5344CB8AC3E}">
        <p14:creationId xmlns:p14="http://schemas.microsoft.com/office/powerpoint/2010/main" val="37792428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4451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539972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5437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56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5985641"/>
      </p:ext>
    </p:extLst>
  </p:cSld>
  <p:clrMapOvr>
    <a:masterClrMapping/>
  </p:clrMapOvr>
  <p:hf sldNum="0" hdr="0" ftr="0" dt="0"/>
  <p:extLst>
    <p:ext uri="{DCECCB84-F9BA-43D5-87BE-67443E8EF086}">
      <p15:sldGuideLst xmlns:p15="http://schemas.microsoft.com/office/powerpoint/2012/main">
        <p15:guide id="9" orient="horz" pos="2160" userDrawn="1">
          <p15:clr>
            <a:srgbClr val="A4A3A4"/>
          </p15:clr>
        </p15:guide>
        <p15:guide id="10" orient="horz" pos="2258" userDrawn="1">
          <p15:clr>
            <a:srgbClr val="547EBF"/>
          </p15:clr>
        </p15:guide>
        <p15:guide id="11" orient="horz" pos="1866" userDrawn="1">
          <p15:clr>
            <a:srgbClr val="547EBF"/>
          </p15:clr>
        </p15:guide>
        <p15:guide id="12" orient="horz" pos="2650" userDrawn="1">
          <p15:clr>
            <a:srgbClr val="547EBF"/>
          </p15:clr>
        </p15:guide>
        <p15:guide id="13" orient="horz" pos="2454" userDrawn="1">
          <p15:clr>
            <a:srgbClr val="547EBF"/>
          </p15:clr>
        </p15:guide>
        <p15:guide id="14" pos="413" userDrawn="1">
          <p15:clr>
            <a:srgbClr val="547EBF"/>
          </p15:clr>
        </p15:guide>
        <p15:guide id="15" pos="6092" userDrawn="1">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27839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772975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004B1C"/>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130363673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15596329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413970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1"/>
            <a:ext cx="2844800" cy="365125"/>
          </a:xfrm>
          <a:prstGeom prst="rect">
            <a:avLst/>
          </a:prstGeom>
        </p:spPr>
        <p:txBody>
          <a:bodyPr vert="horz" lIns="182854" tIns="45713" rIns="182854" bIns="45713"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212700122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56557640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1617583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915626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In this Lesson you will learn the following:</a:t>
            </a:r>
          </a:p>
          <a:p>
            <a:pPr lvl="1"/>
            <a:r>
              <a:rPr lang="en-US"/>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5</a:t>
            </a:r>
          </a:p>
          <a:p>
            <a:pPr lvl="1"/>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Lesson Objectives</a:t>
            </a:r>
          </a:p>
        </p:txBody>
      </p:sp>
    </p:spTree>
    <p:extLst>
      <p:ext uri="{BB962C8B-B14F-4D97-AF65-F5344CB8AC3E}">
        <p14:creationId xmlns:p14="http://schemas.microsoft.com/office/powerpoint/2010/main" val="101697685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8882774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795629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045431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59853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a:t>Microsoft Confidential</a:t>
            </a:r>
          </a:p>
        </p:txBody>
      </p:sp>
    </p:spTree>
    <p:extLst>
      <p:ext uri="{BB962C8B-B14F-4D97-AF65-F5344CB8AC3E}">
        <p14:creationId xmlns:p14="http://schemas.microsoft.com/office/powerpoint/2010/main" val="422938985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187360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259059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945217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a:t>Microsoft Confidential</a:t>
            </a:r>
          </a:p>
        </p:txBody>
      </p:sp>
    </p:spTree>
    <p:extLst>
      <p:ext uri="{BB962C8B-B14F-4D97-AF65-F5344CB8AC3E}">
        <p14:creationId xmlns:p14="http://schemas.microsoft.com/office/powerpoint/2010/main" val="349285737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669184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spTree>
    <p:extLst>
      <p:ext uri="{BB962C8B-B14F-4D97-AF65-F5344CB8AC3E}">
        <p14:creationId xmlns:p14="http://schemas.microsoft.com/office/powerpoint/2010/main" val="36151732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90326054"/>
      </p:ext>
    </p:extLst>
  </p:cSld>
  <p:clrMapOvr>
    <a:masterClrMapping/>
  </p:clrMapOvr>
  <p:hf sldNum="0" hdr="0" ftr="0" dt="0"/>
  <p:extLst>
    <p:ext uri="{DCECCB84-F9BA-43D5-87BE-67443E8EF086}">
      <p15:sldGuideLst xmlns:p15="http://schemas.microsoft.com/office/powerpoint/2012/main">
        <p15:guide id="1" orient="horz" pos="880" userDrawn="1">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userDrawn="1">
          <p15:clr>
            <a:srgbClr val="547EBF"/>
          </p15:clr>
        </p15:guide>
        <p15:guide id="7" pos="7267">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80344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9132035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11787323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647238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a:solidFill>
                  <a:schemeClr val="tx1"/>
                </a:solidFill>
              </a:rPr>
              <a:t>Demonstration:</a:t>
            </a:r>
            <a:r>
              <a:rPr lang="en-US">
                <a:solidFill>
                  <a:schemeClr val="tx1"/>
                </a:solidFill>
              </a:rPr>
              <a:t> </a:t>
            </a:r>
            <a:br>
              <a:rPr lang="en-US">
                <a:solidFill>
                  <a:schemeClr val="tx1"/>
                </a:solidFill>
              </a:rPr>
            </a:br>
            <a:r>
              <a:rPr lang="en-US">
                <a:solidFill>
                  <a:schemeClr val="tx1"/>
                </a:solidFill>
              </a:rPr>
              <a:t>Demo Title</a:t>
            </a:r>
          </a:p>
        </p:txBody>
      </p:sp>
    </p:spTree>
    <p:extLst>
      <p:ext uri="{BB962C8B-B14F-4D97-AF65-F5344CB8AC3E}">
        <p14:creationId xmlns:p14="http://schemas.microsoft.com/office/powerpoint/2010/main" val="4089722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30164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643172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23717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283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4596372"/>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tags" Target="../tags/tag4.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4.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slideLayout" Target="../slideLayouts/slideLayout105.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image" Target="../media/image4.png"/><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theme" Target="../theme/theme3.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theme" Target="../theme/theme4.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slideLayout" Target="../slideLayouts/slideLayout142.xml"/><Relationship Id="rId39" Type="http://schemas.openxmlformats.org/officeDocument/2006/relationships/slideLayout" Target="../slideLayouts/slideLayout155.xml"/><Relationship Id="rId21" Type="http://schemas.openxmlformats.org/officeDocument/2006/relationships/slideLayout" Target="../slideLayouts/slideLayout137.xml"/><Relationship Id="rId34" Type="http://schemas.openxmlformats.org/officeDocument/2006/relationships/slideLayout" Target="../slideLayouts/slideLayout150.xml"/><Relationship Id="rId42" Type="http://schemas.openxmlformats.org/officeDocument/2006/relationships/slideLayout" Target="../slideLayouts/slideLayout158.xml"/><Relationship Id="rId47" Type="http://schemas.openxmlformats.org/officeDocument/2006/relationships/tags" Target="../tags/tag8.xml"/><Relationship Id="rId50" Type="http://schemas.openxmlformats.org/officeDocument/2006/relationships/image" Target="../media/image1.emf"/><Relationship Id="rId7" Type="http://schemas.openxmlformats.org/officeDocument/2006/relationships/slideLayout" Target="../slideLayouts/slideLayout12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9" Type="http://schemas.openxmlformats.org/officeDocument/2006/relationships/slideLayout" Target="../slideLayouts/slideLayout145.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32" Type="http://schemas.openxmlformats.org/officeDocument/2006/relationships/slideLayout" Target="../slideLayouts/slideLayout148.xml"/><Relationship Id="rId37" Type="http://schemas.openxmlformats.org/officeDocument/2006/relationships/slideLayout" Target="../slideLayouts/slideLayout153.xml"/><Relationship Id="rId40" Type="http://schemas.openxmlformats.org/officeDocument/2006/relationships/slideLayout" Target="../slideLayouts/slideLayout156.xml"/><Relationship Id="rId45" Type="http://schemas.openxmlformats.org/officeDocument/2006/relationships/slideLayout" Target="../slideLayouts/slideLayout161.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28" Type="http://schemas.openxmlformats.org/officeDocument/2006/relationships/slideLayout" Target="../slideLayouts/slideLayout144.xml"/><Relationship Id="rId36" Type="http://schemas.openxmlformats.org/officeDocument/2006/relationships/slideLayout" Target="../slideLayouts/slideLayout152.xml"/><Relationship Id="rId49" Type="http://schemas.openxmlformats.org/officeDocument/2006/relationships/tags" Target="../tags/tag10.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31" Type="http://schemas.openxmlformats.org/officeDocument/2006/relationships/slideLayout" Target="../slideLayouts/slideLayout147.xml"/><Relationship Id="rId44" Type="http://schemas.openxmlformats.org/officeDocument/2006/relationships/slideLayout" Target="../slideLayouts/slideLayout160.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slideLayout" Target="../slideLayouts/slideLayout143.xml"/><Relationship Id="rId30" Type="http://schemas.openxmlformats.org/officeDocument/2006/relationships/slideLayout" Target="../slideLayouts/slideLayout146.xml"/><Relationship Id="rId35" Type="http://schemas.openxmlformats.org/officeDocument/2006/relationships/slideLayout" Target="../slideLayouts/slideLayout151.xml"/><Relationship Id="rId43" Type="http://schemas.openxmlformats.org/officeDocument/2006/relationships/slideLayout" Target="../slideLayouts/slideLayout159.xml"/><Relationship Id="rId48" Type="http://schemas.openxmlformats.org/officeDocument/2006/relationships/tags" Target="../tags/tag9.xml"/><Relationship Id="rId8" Type="http://schemas.openxmlformats.org/officeDocument/2006/relationships/slideLayout" Target="../slideLayouts/slideLayout124.xml"/><Relationship Id="rId3" Type="http://schemas.openxmlformats.org/officeDocument/2006/relationships/slideLayout" Target="../slideLayouts/slideLayout119.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slideLayout" Target="../slideLayouts/slideLayout141.xml"/><Relationship Id="rId33" Type="http://schemas.openxmlformats.org/officeDocument/2006/relationships/slideLayout" Target="../slideLayouts/slideLayout149.xml"/><Relationship Id="rId38" Type="http://schemas.openxmlformats.org/officeDocument/2006/relationships/slideLayout" Target="../slideLayouts/slideLayout154.xml"/><Relationship Id="rId46" Type="http://schemas.openxmlformats.org/officeDocument/2006/relationships/theme" Target="../theme/theme5.xml"/><Relationship Id="rId20" Type="http://schemas.openxmlformats.org/officeDocument/2006/relationships/slideLayout" Target="../slideLayouts/slideLayout136.xml"/><Relationship Id="rId41" Type="http://schemas.openxmlformats.org/officeDocument/2006/relationships/slideLayout" Target="../slideLayouts/slideLayout157.xml"/><Relationship Id="rId1" Type="http://schemas.openxmlformats.org/officeDocument/2006/relationships/slideLayout" Target="../slideLayouts/slideLayout117.xml"/><Relationship Id="rId6" Type="http://schemas.openxmlformats.org/officeDocument/2006/relationships/slideLayout" Target="../slideLayouts/slideLayout1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2"/>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44402230"/>
      </p:ext>
    </p:extLst>
  </p:cSld>
  <p:clrMap bg1="lt1" tx1="dk1" bg2="lt2" tx2="dk2" accent1="accent1" accent2="accent2" accent3="accent3" accent4="accent4" accent5="accent5" accent6="accent6" hlink="hlink" folHlink="folHlink"/>
  <p:sldLayoutIdLst>
    <p:sldLayoutId id="2147483743" r:id="rId1"/>
    <p:sldLayoutId id="2147483746" r:id="rId2"/>
    <p:sldLayoutId id="2147483744" r:id="rId3"/>
    <p:sldLayoutId id="2147483707" r:id="rId4"/>
    <p:sldLayoutId id="2147483708" r:id="rId5"/>
    <p:sldLayoutId id="2147483709" r:id="rId6"/>
    <p:sldLayoutId id="2147483710" r:id="rId7"/>
    <p:sldLayoutId id="2147483740" r:id="rId8"/>
    <p:sldLayoutId id="2147483711" r:id="rId9"/>
    <p:sldLayoutId id="2147483735" r:id="rId10"/>
    <p:sldLayoutId id="2147483741" r:id="rId11"/>
    <p:sldLayoutId id="2147483712" r:id="rId12"/>
    <p:sldLayoutId id="2147483742" r:id="rId13"/>
    <p:sldLayoutId id="2147483713" r:id="rId14"/>
    <p:sldLayoutId id="2147483714" r:id="rId15"/>
    <p:sldLayoutId id="2147483739" r:id="rId16"/>
    <p:sldLayoutId id="2147483738" r:id="rId17"/>
    <p:sldLayoutId id="2147483716" r:id="rId18"/>
    <p:sldLayoutId id="2147483747" r:id="rId19"/>
    <p:sldLayoutId id="2147483717" r:id="rId20"/>
    <p:sldLayoutId id="2147483745" r:id="rId21"/>
    <p:sldLayoutId id="2147483748" r:id="rId22"/>
    <p:sldLayoutId id="2147483718" r:id="rId23"/>
    <p:sldLayoutId id="2147483719" r:id="rId24"/>
    <p:sldLayoutId id="2147483720" r:id="rId25"/>
    <p:sldLayoutId id="2147483721" r:id="rId26"/>
    <p:sldLayoutId id="2147483722" r:id="rId27"/>
    <p:sldLayoutId id="2147483749" r:id="rId28"/>
    <p:sldLayoutId id="2147483723" r:id="rId29"/>
    <p:sldLayoutId id="2147483750" r:id="rId30"/>
    <p:sldLayoutId id="2147483724" r:id="rId31"/>
    <p:sldLayoutId id="2147483751" r:id="rId32"/>
    <p:sldLayoutId id="2147483736" r:id="rId33"/>
    <p:sldLayoutId id="2147483752" r:id="rId34"/>
    <p:sldLayoutId id="2147483726" r:id="rId35"/>
    <p:sldLayoutId id="2147483737" r:id="rId36"/>
    <p:sldLayoutId id="2147483727" r:id="rId37"/>
    <p:sldLayoutId id="2147483728" r:id="rId38"/>
    <p:sldLayoutId id="2147483753" r:id="rId39"/>
    <p:sldLayoutId id="2147483729" r:id="rId40"/>
    <p:sldLayoutId id="2147483730" r:id="rId41"/>
    <p:sldLayoutId id="2147483731" r:id="rId42"/>
    <p:sldLayoutId id="2147483732" r:id="rId43"/>
    <p:sldLayoutId id="2147483733" r:id="rId44"/>
    <p:sldLayoutId id="2147483754" r:id="rId45"/>
    <p:sldLayoutId id="2147483755" r:id="rId46"/>
    <p:sldLayoutId id="2147483756" r:id="rId47"/>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userDrawn="1">
          <p15:clr>
            <a:srgbClr val="A4A3A4"/>
          </p15:clr>
        </p15:guide>
        <p15:guide id="2" pos="192" userDrawn="1">
          <p15:clr>
            <a:srgbClr val="A4A3A4"/>
          </p15:clr>
        </p15:guide>
        <p15:guide id="3" orient="horz" pos="384" userDrawn="1">
          <p15:clr>
            <a:srgbClr val="F26B43"/>
          </p15:clr>
        </p15:guide>
        <p15:guide id="5" orient="horz" pos="4128" userDrawn="1">
          <p15:clr>
            <a:srgbClr val="A4A3A4"/>
          </p15:clr>
        </p15:guide>
        <p15:guide id="6" orient="horz" pos="3936" userDrawn="1">
          <p15:clr>
            <a:srgbClr val="F26B43"/>
          </p15:clr>
        </p15:guide>
        <p15:guide id="7" pos="7296" userDrawn="1">
          <p15:clr>
            <a:srgbClr val="F26B43"/>
          </p15:clr>
        </p15:guide>
        <p15:guide id="8" pos="7488" userDrawn="1">
          <p15:clr>
            <a:srgbClr val="A4A3A4"/>
          </p15:clr>
        </p15:guide>
        <p15:guide id="9" pos="3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184634301"/>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 id="2147483786"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07475735"/>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 id="2147483813" r:id="rId26"/>
    <p:sldLayoutId id="2147483814" r:id="rId27"/>
    <p:sldLayoutId id="2147483815" r:id="rId28"/>
    <p:sldLayoutId id="2147483816" r:id="rId29"/>
    <p:sldLayoutId id="2147483817"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2"/>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6C770997-4A99-4043-97DC-DA94969F2B06}"/>
              </a:ext>
            </a:extLst>
          </p:cNvPr>
          <p:cNvSpPr txBox="1"/>
          <p:nvPr userDrawn="1"/>
        </p:nvSpPr>
        <p:spPr>
          <a:xfrm>
            <a:off x="124892" y="6539115"/>
            <a:ext cx="2334845" cy="280718"/>
          </a:xfrm>
          <a:prstGeom prst="rect">
            <a:avLst/>
          </a:prstGeom>
          <a:noFill/>
        </p:spPr>
        <p:txBody>
          <a:bodyPr wrap="square" rtlCol="0">
            <a:spAutoFit/>
          </a:bodyPr>
          <a:lstStyle/>
          <a:p>
            <a:r>
              <a:rPr lang="en-US" sz="1200" dirty="0">
                <a:solidFill>
                  <a:schemeClr val="bg1"/>
                </a:solidFill>
              </a:rPr>
              <a:t>www.ThatAwesomeTrainer.com</a:t>
            </a:r>
          </a:p>
        </p:txBody>
      </p:sp>
    </p:spTree>
    <p:extLst>
      <p:ext uri="{BB962C8B-B14F-4D97-AF65-F5344CB8AC3E}">
        <p14:creationId xmlns:p14="http://schemas.microsoft.com/office/powerpoint/2010/main" val="1882206048"/>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44" r:id="rId10"/>
  </p:sldLayoutIdLst>
  <p:hf hdr="0" ftr="0" dt="0"/>
  <p:txStyles>
    <p:titleStyle>
      <a:lvl1pPr marL="0" marR="0" indent="0" algn="l" defTabSz="457025"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14049" rtl="0" eaLnBrk="1" latinLnBrk="0" hangingPunct="1">
        <a:spcBef>
          <a:spcPct val="20000"/>
        </a:spcBef>
        <a:buFont typeface="Arial"/>
        <a:buNone/>
        <a:defRPr sz="2400" kern="1200">
          <a:solidFill>
            <a:srgbClr val="404040"/>
          </a:solidFill>
          <a:latin typeface="+mn-lt"/>
          <a:ea typeface="+mn-ea"/>
          <a:cs typeface="+mn-cs"/>
        </a:defRPr>
      </a:lvl1pPr>
      <a:lvl2pPr marL="342768" indent="-342768" algn="l" defTabSz="914049"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7930"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1984"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581" indent="-342768" algn="l" defTabSz="914049"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3635"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59"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83"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07"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9"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9" y="1408114"/>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8"/>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l" defTabSz="932293"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l" defTabSz="932293"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26" tIns="155426" rIns="155426" bIns="155426"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84059584"/>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868" r:id="rId23"/>
    <p:sldLayoutId id="2147483869" r:id="rId24"/>
    <p:sldLayoutId id="2147483870" r:id="rId25"/>
    <p:sldLayoutId id="2147483871" r:id="rId26"/>
    <p:sldLayoutId id="2147483872" r:id="rId27"/>
    <p:sldLayoutId id="2147483873" r:id="rId28"/>
    <p:sldLayoutId id="2147483874" r:id="rId29"/>
    <p:sldLayoutId id="2147483875" r:id="rId30"/>
    <p:sldLayoutId id="2147483876" r:id="rId31"/>
    <p:sldLayoutId id="2147483877" r:id="rId32"/>
    <p:sldLayoutId id="2147483878" r:id="rId33"/>
    <p:sldLayoutId id="2147483879" r:id="rId34"/>
    <p:sldLayoutId id="2147483880" r:id="rId35"/>
    <p:sldLayoutId id="2147483881" r:id="rId36"/>
    <p:sldLayoutId id="2147483882" r:id="rId37"/>
    <p:sldLayoutId id="2147483883" r:id="rId38"/>
    <p:sldLayoutId id="2147483884" r:id="rId39"/>
    <p:sldLayoutId id="2147483885" r:id="rId40"/>
    <p:sldLayoutId id="2147483886" r:id="rId41"/>
    <p:sldLayoutId id="2147483887" r:id="rId42"/>
    <p:sldLayoutId id="2147483888" r:id="rId43"/>
    <p:sldLayoutId id="2147483889" r:id="rId44"/>
    <p:sldLayoutId id="2147483890" r:id="rId45"/>
  </p:sldLayoutIdLst>
  <p:hf sldNum="0" hdr="0" ftr="0" dt="0"/>
  <p:txStyles>
    <p:titleStyle>
      <a:lvl1pPr algn="l" defTabSz="932563" rtl="0" eaLnBrk="1" latinLnBrk="0" hangingPunct="1">
        <a:lnSpc>
          <a:spcPts val="3619"/>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36" indent="-310836" algn="l" defTabSz="93250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673" indent="-310836" algn="l" defTabSz="93250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508" indent="-310836" algn="l" defTabSz="93250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345" indent="-310836" algn="l" defTabSz="93250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181" indent="-329121" algn="l" defTabSz="93250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36" indent="-310836" algn="l" defTabSz="93250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673" indent="-310836" algn="l" defTabSz="93250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50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50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0.xml"/><Relationship Id="rId1" Type="http://schemas.openxmlformats.org/officeDocument/2006/relationships/tags" Target="../tags/tag21.xml"/><Relationship Id="rId4" Type="http://schemas.openxmlformats.org/officeDocument/2006/relationships/image" Target="../media/image14.jpe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5.jpeg"/><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customXml" Target="../../customXml/item7.xml"/><Relationship Id="rId7" Type="http://schemas.openxmlformats.org/officeDocument/2006/relationships/image" Target="../media/image12.png"/><Relationship Id="rId2" Type="http://schemas.openxmlformats.org/officeDocument/2006/relationships/customXml" Target="../../customXml/item6.xml"/><Relationship Id="rId1" Type="http://schemas.openxmlformats.org/officeDocument/2006/relationships/tags" Target="../tags/tag24.xml"/><Relationship Id="rId6" Type="http://schemas.openxmlformats.org/officeDocument/2006/relationships/notesSlide" Target="../notesSlides/notesSlide11.xml"/><Relationship Id="rId5" Type="http://schemas.openxmlformats.org/officeDocument/2006/relationships/slideLayout" Target="../slideLayouts/slideLayout9.xml"/><Relationship Id="rId4" Type="http://schemas.openxmlformats.org/officeDocument/2006/relationships/tags" Target="../tags/tag25.xml"/></Relationships>
</file>

<file path=ppt/slides/_rels/slide15.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12.xml"/><Relationship Id="rId7" Type="http://schemas.openxmlformats.org/officeDocument/2006/relationships/diagramColors" Target="../diagrams/colors3.xml"/><Relationship Id="rId2" Type="http://schemas.openxmlformats.org/officeDocument/2006/relationships/slideLayout" Target="../slideLayouts/slideLayout45.xml"/><Relationship Id="rId1" Type="http://schemas.openxmlformats.org/officeDocument/2006/relationships/tags" Target="../tags/tag26.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6.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notesSlide" Target="../notesSlides/notesSlide13.xml"/><Relationship Id="rId7" Type="http://schemas.openxmlformats.org/officeDocument/2006/relationships/diagramColors" Target="../diagrams/colors4.xml"/><Relationship Id="rId2" Type="http://schemas.openxmlformats.org/officeDocument/2006/relationships/slideLayout" Target="../slideLayouts/slideLayout8.xml"/><Relationship Id="rId1" Type="http://schemas.openxmlformats.org/officeDocument/2006/relationships/tags" Target="../tags/tag28.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17.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notesSlide" Target="../notesSlides/notesSlide14.xml"/><Relationship Id="rId7" Type="http://schemas.openxmlformats.org/officeDocument/2006/relationships/diagramColors" Target="../diagrams/colors5.xml"/><Relationship Id="rId2" Type="http://schemas.openxmlformats.org/officeDocument/2006/relationships/slideLayout" Target="../slideLayouts/slideLayout8.xml"/><Relationship Id="rId1" Type="http://schemas.openxmlformats.org/officeDocument/2006/relationships/tags" Target="../tags/tag29.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18.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notesSlide" Target="../notesSlides/notesSlide15.xml"/><Relationship Id="rId7" Type="http://schemas.openxmlformats.org/officeDocument/2006/relationships/diagramColors" Target="../diagrams/colors6.xml"/><Relationship Id="rId2" Type="http://schemas.openxmlformats.org/officeDocument/2006/relationships/slideLayout" Target="../slideLayouts/slideLayout8.xml"/><Relationship Id="rId1" Type="http://schemas.openxmlformats.org/officeDocument/2006/relationships/tags" Target="../tags/tag31.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19.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notesSlide" Target="../notesSlides/notesSlide16.xml"/><Relationship Id="rId7" Type="http://schemas.openxmlformats.org/officeDocument/2006/relationships/diagramColors" Target="../diagrams/colors7.xml"/><Relationship Id="rId2" Type="http://schemas.openxmlformats.org/officeDocument/2006/relationships/slideLayout" Target="../slideLayouts/slideLayout8.xml"/><Relationship Id="rId1" Type="http://schemas.openxmlformats.org/officeDocument/2006/relationships/tags" Target="../tags/tag33.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7.xml"/><Relationship Id="rId1" Type="http://schemas.openxmlformats.org/officeDocument/2006/relationships/slideLayout" Target="../slideLayouts/slideLayout59.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1.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notesSlide" Target="../notesSlides/notesSlide18.xml"/><Relationship Id="rId7" Type="http://schemas.openxmlformats.org/officeDocument/2006/relationships/diagramColors" Target="../diagrams/colors9.xml"/><Relationship Id="rId2" Type="http://schemas.openxmlformats.org/officeDocument/2006/relationships/slideLayout" Target="../slideLayouts/slideLayout8.xml"/><Relationship Id="rId1" Type="http://schemas.openxmlformats.org/officeDocument/2006/relationships/tags" Target="../tags/tag35.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3.xml"/><Relationship Id="rId1" Type="http://schemas.openxmlformats.org/officeDocument/2006/relationships/tags" Target="../tags/tag3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8.xml"/><Relationship Id="rId1" Type="http://schemas.openxmlformats.org/officeDocument/2006/relationships/tags" Target="../tags/tag37.xml"/></Relationships>
</file>

<file path=ppt/slides/_rels/slide24.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notesSlide" Target="../notesSlides/notesSlide21.xml"/><Relationship Id="rId7" Type="http://schemas.openxmlformats.org/officeDocument/2006/relationships/diagramColors" Target="../diagrams/colors10.xml"/><Relationship Id="rId2" Type="http://schemas.openxmlformats.org/officeDocument/2006/relationships/slideLayout" Target="../slideLayouts/slideLayout8.xml"/><Relationship Id="rId1" Type="http://schemas.openxmlformats.org/officeDocument/2006/relationships/tags" Target="../tags/tag39.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s>
</file>

<file path=ppt/slides/_rels/slide25.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notesSlide" Target="../notesSlides/notesSlide22.xml"/><Relationship Id="rId7" Type="http://schemas.openxmlformats.org/officeDocument/2006/relationships/diagramColors" Target="../diagrams/colors11.xml"/><Relationship Id="rId2" Type="http://schemas.openxmlformats.org/officeDocument/2006/relationships/slideLayout" Target="../slideLayouts/slideLayout8.xml"/><Relationship Id="rId1" Type="http://schemas.openxmlformats.org/officeDocument/2006/relationships/tags" Target="../tags/tag40.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82.xml"/><Relationship Id="rId1" Type="http://schemas.openxmlformats.org/officeDocument/2006/relationships/tags" Target="../tags/tag42.xml"/><Relationship Id="rId5" Type="http://schemas.openxmlformats.org/officeDocument/2006/relationships/image" Target="../media/image17.png"/><Relationship Id="rId4" Type="http://schemas.openxmlformats.org/officeDocument/2006/relationships/image" Target="../media/image16.png"/></Relationships>
</file>

<file path=ppt/slides/_rels/slide2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4.xml"/><Relationship Id="rId1" Type="http://schemas.openxmlformats.org/officeDocument/2006/relationships/slideLayout" Target="../slideLayouts/slideLayout108.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6.xml"/><Relationship Id="rId1" Type="http://schemas.openxmlformats.org/officeDocument/2006/relationships/slideLayout" Target="../slideLayouts/slideLayout124.xml"/><Relationship Id="rId4" Type="http://schemas.openxmlformats.org/officeDocument/2006/relationships/image" Target="../media/image20.png"/></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8.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32.xml.rels><?xml version="1.0" encoding="UTF-8" standalone="yes"?>
<Relationships xmlns="http://schemas.openxmlformats.org/package/2006/relationships"><Relationship Id="rId8" Type="http://schemas.microsoft.com/office/2007/relationships/diagramDrawing" Target="../diagrams/drawing15.xml"/><Relationship Id="rId3" Type="http://schemas.openxmlformats.org/officeDocument/2006/relationships/notesSlide" Target="../notesSlides/notesSlide27.xml"/><Relationship Id="rId7" Type="http://schemas.openxmlformats.org/officeDocument/2006/relationships/diagramColors" Target="../diagrams/colors15.xml"/><Relationship Id="rId2" Type="http://schemas.openxmlformats.org/officeDocument/2006/relationships/slideLayout" Target="../slideLayouts/slideLayout8.xml"/><Relationship Id="rId1" Type="http://schemas.openxmlformats.org/officeDocument/2006/relationships/tags" Target="../tags/tag43.xml"/><Relationship Id="rId6" Type="http://schemas.openxmlformats.org/officeDocument/2006/relationships/diagramQuickStyle" Target="../diagrams/quickStyle15.xml"/><Relationship Id="rId5" Type="http://schemas.openxmlformats.org/officeDocument/2006/relationships/diagramLayout" Target="../diagrams/layout15.xml"/><Relationship Id="rId4" Type="http://schemas.openxmlformats.org/officeDocument/2006/relationships/diagramData" Target="../diagrams/data15.xml"/></Relationships>
</file>

<file path=ppt/slides/_rels/slide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notesSlide" Target="../notesSlides/notesSlide29.xml"/><Relationship Id="rId7" Type="http://schemas.openxmlformats.org/officeDocument/2006/relationships/diagramColors" Target="../diagrams/colors16.xml"/><Relationship Id="rId2" Type="http://schemas.openxmlformats.org/officeDocument/2006/relationships/slideLayout" Target="../slideLayouts/slideLayout8.xml"/><Relationship Id="rId1" Type="http://schemas.openxmlformats.org/officeDocument/2006/relationships/tags" Target="../tags/tag45.xml"/><Relationship Id="rId6" Type="http://schemas.openxmlformats.org/officeDocument/2006/relationships/diagramQuickStyle" Target="../diagrams/quickStyle16.xml"/><Relationship Id="rId5" Type="http://schemas.openxmlformats.org/officeDocument/2006/relationships/diagramLayout" Target="../diagrams/layout16.xml"/><Relationship Id="rId4" Type="http://schemas.openxmlformats.org/officeDocument/2006/relationships/diagramData" Target="../diagrams/data16.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30.xml"/><Relationship Id="rId1" Type="http://schemas.openxmlformats.org/officeDocument/2006/relationships/slideLayout" Target="../slideLayouts/slideLayout9.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8.xml"/><Relationship Id="rId7" Type="http://schemas.openxmlformats.org/officeDocument/2006/relationships/image" Target="../media/image12.png"/><Relationship Id="rId2" Type="http://schemas.openxmlformats.org/officeDocument/2006/relationships/customXml" Target="../../customXml/item1.xml"/><Relationship Id="rId1" Type="http://schemas.openxmlformats.org/officeDocument/2006/relationships/tags" Target="../tags/tag11.xml"/><Relationship Id="rId6" Type="http://schemas.openxmlformats.org/officeDocument/2006/relationships/notesSlide" Target="../notesSlides/notesSlide3.xml"/><Relationship Id="rId5" Type="http://schemas.openxmlformats.org/officeDocument/2006/relationships/slideLayout" Target="../slideLayouts/slideLayout9.xml"/><Relationship Id="rId4" Type="http://schemas.openxmlformats.org/officeDocument/2006/relationships/tags" Target="../tags/tag1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13.xml"/></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5.xml"/><Relationship Id="rId7" Type="http://schemas.openxmlformats.org/officeDocument/2006/relationships/diagramColors" Target="../diagrams/colors1.xml"/><Relationship Id="rId2" Type="http://schemas.openxmlformats.org/officeDocument/2006/relationships/slideLayout" Target="../slideLayouts/slideLayout46.xml"/><Relationship Id="rId1" Type="http://schemas.openxmlformats.org/officeDocument/2006/relationships/tags" Target="../tags/tag15.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8.xml"/><Relationship Id="rId1" Type="http://schemas.openxmlformats.org/officeDocument/2006/relationships/tags" Target="../tags/tag1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4.xml"/><Relationship Id="rId1" Type="http://schemas.openxmlformats.org/officeDocument/2006/relationships/tags" Target="../tags/tag19.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SQL Server Architecture</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2</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SQL Server Configura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Processor Configuration Settings And Best Practices</a:t>
            </a:r>
          </a:p>
        </p:txBody>
      </p:sp>
      <p:graphicFrame>
        <p:nvGraphicFramePr>
          <p:cNvPr id="5" name="Content Placeholder 4">
            <a:extLst>
              <a:ext uri="{FF2B5EF4-FFF2-40B4-BE49-F238E27FC236}">
                <a16:creationId xmlns:a16="http://schemas.microsoft.com/office/drawing/2014/main" id="{2D2E8373-AAFD-4F7A-9F0A-6228B1ACA3C8}"/>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173171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Dynamic Management View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67675391"/>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2: Waits and Queues</a:t>
            </a:r>
          </a:p>
        </p:txBody>
      </p:sp>
    </p:spTree>
    <p:extLst>
      <p:ext uri="{BB962C8B-B14F-4D97-AF65-F5344CB8AC3E}">
        <p14:creationId xmlns:p14="http://schemas.microsoft.com/office/powerpoint/2010/main" val="2894004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SQL Server task scheduling.</a:t>
            </a:r>
          </a:p>
          <a:p>
            <a:r>
              <a:rPr lang="en-US" dirty="0"/>
              <a:t>Understand Waits and Queues</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5C134E13-E15B-4D97-80E7-EE03878EB658}"/>
              </a:ext>
            </a:extLst>
          </p:cNvPr>
          <p:cNvGraphicFramePr/>
          <p:nvPr>
            <p:extLst>
              <p:ext uri="{D42A27DB-BD31-4B8C-83A1-F6EECF244321}">
                <p14:modId xmlns:p14="http://schemas.microsoft.com/office/powerpoint/2010/main" val="755348844"/>
              </p:ext>
            </p:extLst>
          </p:nvPr>
        </p:nvGraphicFramePr>
        <p:xfrm>
          <a:off x="658369" y="1189495"/>
          <a:ext cx="11381232" cy="49837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itle 3"/>
          <p:cNvSpPr>
            <a:spLocks noGrp="1"/>
          </p:cNvSpPr>
          <p:nvPr>
            <p:ph type="title"/>
          </p:nvPr>
        </p:nvSpPr>
        <p:spPr>
          <a:xfrm>
            <a:off x="655637" y="375306"/>
            <a:ext cx="10880725" cy="461665"/>
          </a:xfrm>
        </p:spPr>
        <p:txBody>
          <a:bodyPr/>
          <a:lstStyle/>
          <a:p>
            <a:r>
              <a:rPr lang="en-US" dirty="0"/>
              <a:t>Microsoft SQL Server Scheduling Terminology</a:t>
            </a:r>
          </a:p>
        </p:txBody>
      </p:sp>
    </p:spTree>
    <p:custDataLst>
      <p:tags r:id="rId1"/>
    </p:custDataLst>
    <p:extLst>
      <p:ext uri="{BB962C8B-B14F-4D97-AF65-F5344CB8AC3E}">
        <p14:creationId xmlns:p14="http://schemas.microsoft.com/office/powerpoint/2010/main" val="255492996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079E5A1-77C8-4B74-B747-647B47141F0C}"/>
              </a:ext>
            </a:extLst>
          </p:cNvPr>
          <p:cNvSpPr/>
          <p:nvPr/>
        </p:nvSpPr>
        <p:spPr>
          <a:xfrm>
            <a:off x="2476918" y="1104853"/>
            <a:ext cx="6436360" cy="2931997"/>
          </a:xfrm>
          <a:prstGeom prst="rect">
            <a:avLst/>
          </a:prstGeom>
          <a:ln>
            <a:solidFill>
              <a:schemeClr val="accent1"/>
            </a:solidFill>
          </a:ln>
          <a:effectLst/>
        </p:spPr>
        <p:txBody>
          <a:bodyPr wrap="square">
            <a:noAutofit/>
          </a:bodyPr>
          <a:lstStyle/>
          <a:p>
            <a:r>
              <a:rPr lang="en-US" dirty="0">
                <a:solidFill>
                  <a:srgbClr val="0000FF"/>
                </a:solidFill>
                <a:latin typeface="Lucida Console" panose="020B0609040504020204" pitchFamily="49" charset="0"/>
              </a:rPr>
              <a:t>SELECT</a:t>
            </a:r>
            <a:r>
              <a:rPr lang="en-US" dirty="0">
                <a:solidFill>
                  <a:srgbClr val="000000"/>
                </a:solidFill>
                <a:latin typeface="Lucida Console" panose="020B0609040504020204" pitchFamily="49" charset="0"/>
              </a:rPr>
              <a:t> *</a:t>
            </a:r>
          </a:p>
          <a:p>
            <a:r>
              <a:rPr lang="en-US" dirty="0">
                <a:solidFill>
                  <a:srgbClr val="0000FF"/>
                </a:solidFill>
                <a:latin typeface="Lucida Console" panose="020B0609040504020204" pitchFamily="49" charset="0"/>
              </a:rPr>
              <a:t>FROM</a:t>
            </a:r>
            <a:r>
              <a:rPr lang="en-US" dirty="0">
                <a:solidFill>
                  <a:srgbClr val="000000"/>
                </a:solidFill>
                <a:latin typeface="Lucida Console" panose="020B0609040504020204" pitchFamily="49" charset="0"/>
              </a:rPr>
              <a:t> </a:t>
            </a:r>
            <a:r>
              <a:rPr lang="en-US" dirty="0">
                <a:solidFill>
                  <a:srgbClr val="107C10"/>
                </a:solidFill>
                <a:latin typeface="Lucida Console" panose="020B0609040504020204" pitchFamily="49" charset="0"/>
              </a:rPr>
              <a:t>sys.dm_exec_requests</a:t>
            </a:r>
            <a:r>
              <a:rPr lang="en-US" dirty="0">
                <a:solidFill>
                  <a:srgbClr val="808080"/>
                </a:solidFill>
                <a:latin typeface="Lucida Console" panose="020B0609040504020204" pitchFamily="49" charset="0"/>
              </a:rPr>
              <a:t>;</a:t>
            </a:r>
          </a:p>
          <a:p>
            <a:r>
              <a:rPr lang="en-US" dirty="0">
                <a:solidFill>
                  <a:srgbClr val="107C10"/>
                </a:solidFill>
              </a:rPr>
              <a:t>-- relevant data: </a:t>
            </a:r>
          </a:p>
          <a:p>
            <a:r>
              <a:rPr lang="en-US" dirty="0">
                <a:solidFill>
                  <a:srgbClr val="107C10"/>
                </a:solidFill>
              </a:rPr>
              <a:t>-- </a:t>
            </a:r>
            <a:r>
              <a:rPr lang="en-US" dirty="0" err="1">
                <a:solidFill>
                  <a:srgbClr val="107C10"/>
                </a:solidFill>
              </a:rPr>
              <a:t>session_id</a:t>
            </a:r>
            <a:r>
              <a:rPr lang="en-US" dirty="0">
                <a:solidFill>
                  <a:srgbClr val="107C10"/>
                </a:solidFill>
              </a:rPr>
              <a:t> --&gt; </a:t>
            </a:r>
            <a:r>
              <a:rPr lang="en-US" dirty="0" err="1">
                <a:solidFill>
                  <a:srgbClr val="107C10"/>
                </a:solidFill>
              </a:rPr>
              <a:t>spid</a:t>
            </a:r>
            <a:endParaRPr lang="en-US" dirty="0">
              <a:solidFill>
                <a:srgbClr val="107C10"/>
              </a:solidFill>
            </a:endParaRPr>
          </a:p>
          <a:p>
            <a:r>
              <a:rPr lang="en-US" dirty="0">
                <a:solidFill>
                  <a:srgbClr val="107C10"/>
                </a:solidFill>
              </a:rPr>
              <a:t>-- status --&gt; background, running, runnable, suspended</a:t>
            </a:r>
          </a:p>
          <a:p>
            <a:r>
              <a:rPr lang="en-US" dirty="0">
                <a:solidFill>
                  <a:srgbClr val="107C10"/>
                </a:solidFill>
              </a:rPr>
              <a:t>-- </a:t>
            </a:r>
            <a:r>
              <a:rPr lang="en-US" dirty="0" err="1">
                <a:solidFill>
                  <a:srgbClr val="107C10"/>
                </a:solidFill>
              </a:rPr>
              <a:t>sql_handle</a:t>
            </a:r>
            <a:r>
              <a:rPr lang="en-US" dirty="0">
                <a:solidFill>
                  <a:srgbClr val="107C10"/>
                </a:solidFill>
              </a:rPr>
              <a:t>, offset </a:t>
            </a:r>
            <a:r>
              <a:rPr lang="en-US" dirty="0">
                <a:solidFill>
                  <a:srgbClr val="107C10"/>
                </a:solidFill>
                <a:sym typeface="Wingdings" panose="05000000000000000000" pitchFamily="2" charset="2"/>
              </a:rPr>
              <a:t>--&gt; query text</a:t>
            </a:r>
          </a:p>
          <a:p>
            <a:r>
              <a:rPr lang="en-US" dirty="0">
                <a:solidFill>
                  <a:srgbClr val="107C10"/>
                </a:solidFill>
              </a:rPr>
              <a:t>-- </a:t>
            </a:r>
            <a:r>
              <a:rPr lang="en-US" dirty="0" err="1">
                <a:solidFill>
                  <a:srgbClr val="107C10"/>
                </a:solidFill>
              </a:rPr>
              <a:t>database_id</a:t>
            </a:r>
            <a:r>
              <a:rPr lang="en-US" dirty="0">
                <a:solidFill>
                  <a:srgbClr val="107C10"/>
                </a:solidFill>
              </a:rPr>
              <a:t> --&gt; database being accessed</a:t>
            </a:r>
          </a:p>
          <a:p>
            <a:r>
              <a:rPr lang="en-US" dirty="0">
                <a:solidFill>
                  <a:srgbClr val="107C10"/>
                </a:solidFill>
              </a:rPr>
              <a:t>-- </a:t>
            </a:r>
            <a:r>
              <a:rPr lang="en-US" dirty="0" err="1">
                <a:solidFill>
                  <a:srgbClr val="107C10"/>
                </a:solidFill>
              </a:rPr>
              <a:t>wait_type</a:t>
            </a:r>
            <a:r>
              <a:rPr lang="en-US" dirty="0">
                <a:solidFill>
                  <a:srgbClr val="107C10"/>
                </a:solidFill>
              </a:rPr>
              <a:t>, </a:t>
            </a:r>
            <a:r>
              <a:rPr lang="en-US" dirty="0" err="1">
                <a:solidFill>
                  <a:srgbClr val="107C10"/>
                </a:solidFill>
              </a:rPr>
              <a:t>wait_time</a:t>
            </a:r>
            <a:r>
              <a:rPr lang="en-US" dirty="0">
                <a:solidFill>
                  <a:srgbClr val="107C10"/>
                </a:solidFill>
              </a:rPr>
              <a:t> --&gt; blocking information</a:t>
            </a:r>
          </a:p>
          <a:p>
            <a:r>
              <a:rPr lang="en-US" dirty="0">
                <a:solidFill>
                  <a:srgbClr val="107C10"/>
                </a:solidFill>
              </a:rPr>
              <a:t>-- </a:t>
            </a:r>
            <a:r>
              <a:rPr lang="en-US" dirty="0" err="1">
                <a:solidFill>
                  <a:srgbClr val="107C10"/>
                </a:solidFill>
              </a:rPr>
              <a:t>open_transaction_count</a:t>
            </a:r>
            <a:r>
              <a:rPr lang="en-US" dirty="0">
                <a:solidFill>
                  <a:srgbClr val="107C10"/>
                </a:solidFill>
              </a:rPr>
              <a:t> --&gt; blocking others</a:t>
            </a:r>
          </a:p>
          <a:p>
            <a:r>
              <a:rPr lang="en-US" dirty="0">
                <a:solidFill>
                  <a:srgbClr val="107C10"/>
                </a:solidFill>
              </a:rPr>
              <a:t>-- </a:t>
            </a:r>
            <a:r>
              <a:rPr lang="en-US" dirty="0" err="1">
                <a:solidFill>
                  <a:srgbClr val="107C10"/>
                </a:solidFill>
              </a:rPr>
              <a:t>cpu_time</a:t>
            </a:r>
            <a:r>
              <a:rPr lang="en-US" dirty="0">
                <a:solidFill>
                  <a:srgbClr val="107C10"/>
                </a:solidFill>
              </a:rPr>
              <a:t>, </a:t>
            </a:r>
            <a:r>
              <a:rPr lang="en-US" dirty="0" err="1">
                <a:solidFill>
                  <a:srgbClr val="107C10"/>
                </a:solidFill>
              </a:rPr>
              <a:t>total_elapsed_time</a:t>
            </a:r>
            <a:r>
              <a:rPr lang="en-US" dirty="0">
                <a:solidFill>
                  <a:srgbClr val="107C10"/>
                </a:solidFill>
              </a:rPr>
              <a:t>, reads, writes --&gt; telemetry</a:t>
            </a:r>
          </a:p>
          <a:p>
            <a:endParaRPr lang="en-US" sz="1800" dirty="0">
              <a:solidFill>
                <a:srgbClr val="107C10"/>
              </a:solidFill>
              <a:latin typeface="Lucida Console" panose="020B0609040504020204" pitchFamily="49" charset="0"/>
            </a:endParaRPr>
          </a:p>
        </p:txBody>
      </p:sp>
      <p:sp>
        <p:nvSpPr>
          <p:cNvPr id="11" name="Rectangle 10">
            <a:extLst>
              <a:ext uri="{FF2B5EF4-FFF2-40B4-BE49-F238E27FC236}">
                <a16:creationId xmlns:a16="http://schemas.microsoft.com/office/drawing/2014/main" id="{BBDF6ED2-2E40-4A32-A40F-418ED1BFC8F7}"/>
              </a:ext>
            </a:extLst>
          </p:cNvPr>
          <p:cNvSpPr/>
          <p:nvPr/>
        </p:nvSpPr>
        <p:spPr>
          <a:xfrm>
            <a:off x="2476918" y="1104853"/>
            <a:ext cx="6436360" cy="2931136"/>
          </a:xfrm>
          <a:prstGeom prst="rect">
            <a:avLst/>
          </a:prstGeom>
          <a:ln>
            <a:solidFill>
              <a:schemeClr val="accent1"/>
            </a:solidFill>
          </a:ln>
          <a:effectLst/>
        </p:spPr>
        <p:txBody>
          <a:bodyPr wrap="square">
            <a:noAutofit/>
          </a:bodyPr>
          <a:lstStyle/>
          <a:p>
            <a:r>
              <a:rPr lang="en-US" dirty="0">
                <a:solidFill>
                  <a:srgbClr val="0000FF"/>
                </a:solidFill>
                <a:latin typeface="Lucida Console" panose="020B0609040504020204" pitchFamily="49" charset="0"/>
              </a:rPr>
              <a:t>SELECT</a:t>
            </a:r>
            <a:r>
              <a:rPr lang="en-US" dirty="0">
                <a:solidFill>
                  <a:srgbClr val="000000"/>
                </a:solidFill>
                <a:latin typeface="Lucida Console" panose="020B0609040504020204" pitchFamily="49" charset="0"/>
              </a:rPr>
              <a:t> *</a:t>
            </a:r>
          </a:p>
          <a:p>
            <a:r>
              <a:rPr lang="en-US" dirty="0">
                <a:solidFill>
                  <a:srgbClr val="0000FF"/>
                </a:solidFill>
                <a:latin typeface="Lucida Console" panose="020B0609040504020204" pitchFamily="49" charset="0"/>
              </a:rPr>
              <a:t>FROM</a:t>
            </a:r>
            <a:r>
              <a:rPr lang="en-US" dirty="0">
                <a:solidFill>
                  <a:srgbClr val="000000"/>
                </a:solidFill>
                <a:latin typeface="Lucida Console" panose="020B0609040504020204" pitchFamily="49" charset="0"/>
              </a:rPr>
              <a:t> </a:t>
            </a:r>
            <a:r>
              <a:rPr lang="en-US" dirty="0" err="1">
                <a:solidFill>
                  <a:srgbClr val="107C10"/>
                </a:solidFill>
                <a:latin typeface="Lucida Console" panose="020B0609040504020204" pitchFamily="49" charset="0"/>
              </a:rPr>
              <a:t>sys.dm_os_workers</a:t>
            </a:r>
            <a:r>
              <a:rPr lang="en-US" dirty="0">
                <a:solidFill>
                  <a:srgbClr val="808080"/>
                </a:solidFill>
                <a:latin typeface="Lucida Console" panose="020B0609040504020204" pitchFamily="49" charset="0"/>
              </a:rPr>
              <a:t>;</a:t>
            </a:r>
          </a:p>
          <a:p>
            <a:r>
              <a:rPr lang="en-US" dirty="0">
                <a:solidFill>
                  <a:srgbClr val="107C10"/>
                </a:solidFill>
              </a:rPr>
              <a:t>-- relevant data: </a:t>
            </a:r>
          </a:p>
          <a:p>
            <a:r>
              <a:rPr lang="en-US" dirty="0">
                <a:solidFill>
                  <a:srgbClr val="107C10"/>
                </a:solidFill>
              </a:rPr>
              <a:t>-- </a:t>
            </a:r>
            <a:r>
              <a:rPr lang="en-US" dirty="0" err="1">
                <a:solidFill>
                  <a:srgbClr val="107C10"/>
                </a:solidFill>
              </a:rPr>
              <a:t>worker_address</a:t>
            </a:r>
            <a:r>
              <a:rPr lang="en-US" dirty="0">
                <a:solidFill>
                  <a:srgbClr val="107C10"/>
                </a:solidFill>
              </a:rPr>
              <a:t> --&gt; memory address of the worker</a:t>
            </a:r>
          </a:p>
          <a:p>
            <a:r>
              <a:rPr lang="en-US" dirty="0">
                <a:solidFill>
                  <a:srgbClr val="107C10"/>
                </a:solidFill>
              </a:rPr>
              <a:t>-- </a:t>
            </a:r>
            <a:r>
              <a:rPr lang="en-US" dirty="0" err="1">
                <a:solidFill>
                  <a:srgbClr val="107C10"/>
                </a:solidFill>
              </a:rPr>
              <a:t>wait_start_ms_ticks</a:t>
            </a:r>
            <a:r>
              <a:rPr lang="en-US" dirty="0">
                <a:solidFill>
                  <a:srgbClr val="107C10"/>
                </a:solidFill>
              </a:rPr>
              <a:t> --&gt; Point in time worker Suspended.</a:t>
            </a:r>
          </a:p>
          <a:p>
            <a:r>
              <a:rPr lang="en-US" dirty="0">
                <a:solidFill>
                  <a:srgbClr val="107C10"/>
                </a:solidFill>
              </a:rPr>
              <a:t>-- </a:t>
            </a:r>
            <a:r>
              <a:rPr lang="en-US" dirty="0" err="1">
                <a:solidFill>
                  <a:srgbClr val="107C10"/>
                </a:solidFill>
              </a:rPr>
              <a:t>wait_resumed_ms_ticks</a:t>
            </a:r>
            <a:r>
              <a:rPr lang="en-US" dirty="0">
                <a:solidFill>
                  <a:srgbClr val="107C10"/>
                </a:solidFill>
              </a:rPr>
              <a:t> --&gt; Worker in Runnable state.</a:t>
            </a:r>
          </a:p>
          <a:p>
            <a:r>
              <a:rPr lang="en-US" dirty="0">
                <a:solidFill>
                  <a:srgbClr val="107C10"/>
                </a:solidFill>
              </a:rPr>
              <a:t>-- state -- &gt; Running, Runnable, </a:t>
            </a:r>
            <a:r>
              <a:rPr lang="en-US" dirty="0" err="1">
                <a:solidFill>
                  <a:srgbClr val="107C10"/>
                </a:solidFill>
              </a:rPr>
              <a:t>Susspended</a:t>
            </a:r>
            <a:endParaRPr lang="en-US" dirty="0">
              <a:solidFill>
                <a:srgbClr val="107C10"/>
              </a:solidFill>
            </a:endParaRPr>
          </a:p>
        </p:txBody>
      </p:sp>
      <p:sp>
        <p:nvSpPr>
          <p:cNvPr id="3" name="Title 2"/>
          <p:cNvSpPr>
            <a:spLocks noGrp="1"/>
          </p:cNvSpPr>
          <p:nvPr>
            <p:ph type="title"/>
          </p:nvPr>
        </p:nvSpPr>
        <p:spPr>
          <a:xfrm>
            <a:off x="449289" y="171839"/>
            <a:ext cx="10880725" cy="461665"/>
          </a:xfrm>
        </p:spPr>
        <p:txBody>
          <a:bodyPr/>
          <a:lstStyle/>
          <a:p>
            <a:r>
              <a:rPr lang="en-US"/>
              <a:t>Hierarchy of Common Terms</a:t>
            </a:r>
          </a:p>
        </p:txBody>
      </p:sp>
      <p:graphicFrame>
        <p:nvGraphicFramePr>
          <p:cNvPr id="4" name="Diagram 3"/>
          <p:cNvGraphicFramePr/>
          <p:nvPr>
            <p:extLst>
              <p:ext uri="{D42A27DB-BD31-4B8C-83A1-F6EECF244321}">
                <p14:modId xmlns:p14="http://schemas.microsoft.com/office/powerpoint/2010/main" val="1529079938"/>
              </p:ext>
            </p:extLst>
          </p:nvPr>
        </p:nvGraphicFramePr>
        <p:xfrm>
          <a:off x="658368" y="4062114"/>
          <a:ext cx="10890504" cy="2199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Rectangle 1">
            <a:extLst>
              <a:ext uri="{FF2B5EF4-FFF2-40B4-BE49-F238E27FC236}">
                <a16:creationId xmlns:a16="http://schemas.microsoft.com/office/drawing/2014/main" id="{508925ED-9510-43E8-8015-233243BBA421}"/>
              </a:ext>
            </a:extLst>
          </p:cNvPr>
          <p:cNvSpPr/>
          <p:nvPr/>
        </p:nvSpPr>
        <p:spPr>
          <a:xfrm>
            <a:off x="2476918" y="1103992"/>
            <a:ext cx="6436360" cy="2958122"/>
          </a:xfrm>
          <a:prstGeom prst="rect">
            <a:avLst/>
          </a:prstGeom>
          <a:ln>
            <a:solidFill>
              <a:schemeClr val="accent1"/>
            </a:solidFill>
          </a:ln>
          <a:effectLst/>
        </p:spPr>
        <p:txBody>
          <a:bodyPr wrap="square">
            <a:noAutofit/>
          </a:bodyPr>
          <a:lstStyle/>
          <a:p>
            <a:r>
              <a:rPr lang="en-US">
                <a:solidFill>
                  <a:srgbClr val="0000FF"/>
                </a:solidFill>
                <a:latin typeface="Lucida Console" panose="020B0609040504020204" pitchFamily="49" charset="0"/>
              </a:rPr>
              <a:t>SELECT</a:t>
            </a:r>
            <a:r>
              <a:rPr lang="en-US">
                <a:solidFill>
                  <a:srgbClr val="000000"/>
                </a:solidFill>
                <a:latin typeface="Lucida Console" panose="020B0609040504020204" pitchFamily="49" charset="0"/>
              </a:rPr>
              <a:t> *</a:t>
            </a:r>
          </a:p>
          <a:p>
            <a:r>
              <a:rPr lang="en-US">
                <a:solidFill>
                  <a:srgbClr val="0000FF"/>
                </a:solidFill>
                <a:latin typeface="Lucida Console" panose="020B0609040504020204" pitchFamily="49" charset="0"/>
              </a:rPr>
              <a:t>FROM</a:t>
            </a:r>
            <a:r>
              <a:rPr lang="en-US">
                <a:solidFill>
                  <a:srgbClr val="000000"/>
                </a:solidFill>
                <a:latin typeface="Lucida Console" panose="020B0609040504020204" pitchFamily="49" charset="0"/>
              </a:rPr>
              <a:t> </a:t>
            </a:r>
            <a:r>
              <a:rPr lang="en-US" err="1">
                <a:solidFill>
                  <a:srgbClr val="107C10"/>
                </a:solidFill>
                <a:latin typeface="Lucida Console" panose="020B0609040504020204" pitchFamily="49" charset="0"/>
              </a:rPr>
              <a:t>sys.dm_exec_connections</a:t>
            </a:r>
            <a:r>
              <a:rPr lang="en-US">
                <a:solidFill>
                  <a:srgbClr val="808080"/>
                </a:solidFill>
                <a:latin typeface="Lucida Console" panose="020B0609040504020204" pitchFamily="49" charset="0"/>
              </a:rPr>
              <a:t>;</a:t>
            </a:r>
          </a:p>
          <a:p>
            <a:r>
              <a:rPr lang="en-US">
                <a:solidFill>
                  <a:srgbClr val="107C10"/>
                </a:solidFill>
              </a:rPr>
              <a:t>-- relevant data: </a:t>
            </a:r>
          </a:p>
          <a:p>
            <a:r>
              <a:rPr lang="en-US">
                <a:solidFill>
                  <a:srgbClr val="107C10"/>
                </a:solidFill>
              </a:rPr>
              <a:t>-- </a:t>
            </a:r>
            <a:r>
              <a:rPr lang="en-US" err="1">
                <a:solidFill>
                  <a:srgbClr val="107C10"/>
                </a:solidFill>
              </a:rPr>
              <a:t>session_id</a:t>
            </a:r>
            <a:r>
              <a:rPr lang="en-US">
                <a:solidFill>
                  <a:srgbClr val="107C10"/>
                </a:solidFill>
              </a:rPr>
              <a:t> --&gt; </a:t>
            </a:r>
            <a:r>
              <a:rPr lang="en-US" err="1">
                <a:solidFill>
                  <a:srgbClr val="107C10"/>
                </a:solidFill>
              </a:rPr>
              <a:t>spid</a:t>
            </a:r>
            <a:endParaRPr lang="en-US">
              <a:solidFill>
                <a:srgbClr val="107C10"/>
              </a:solidFill>
            </a:endParaRPr>
          </a:p>
          <a:p>
            <a:r>
              <a:rPr lang="en-US">
                <a:solidFill>
                  <a:srgbClr val="107C10"/>
                </a:solidFill>
              </a:rPr>
              <a:t>-- </a:t>
            </a:r>
            <a:r>
              <a:rPr lang="en-US" err="1">
                <a:solidFill>
                  <a:srgbClr val="107C10"/>
                </a:solidFill>
              </a:rPr>
              <a:t>most_recent_sql_handle</a:t>
            </a:r>
            <a:r>
              <a:rPr lang="en-US">
                <a:solidFill>
                  <a:srgbClr val="107C10"/>
                </a:solidFill>
              </a:rPr>
              <a:t> --&gt; last query</a:t>
            </a:r>
          </a:p>
          <a:p>
            <a:r>
              <a:rPr lang="en-US">
                <a:solidFill>
                  <a:srgbClr val="107C10"/>
                </a:solidFill>
              </a:rPr>
              <a:t>-- </a:t>
            </a:r>
            <a:r>
              <a:rPr lang="en-US" err="1">
                <a:solidFill>
                  <a:srgbClr val="107C10"/>
                </a:solidFill>
              </a:rPr>
              <a:t>net_transport</a:t>
            </a:r>
            <a:r>
              <a:rPr lang="en-US">
                <a:solidFill>
                  <a:srgbClr val="107C10"/>
                </a:solidFill>
              </a:rPr>
              <a:t>, </a:t>
            </a:r>
            <a:r>
              <a:rPr lang="en-US" err="1">
                <a:solidFill>
                  <a:srgbClr val="107C10"/>
                </a:solidFill>
              </a:rPr>
              <a:t>protocol_type</a:t>
            </a:r>
            <a:r>
              <a:rPr lang="en-US">
                <a:solidFill>
                  <a:srgbClr val="107C10"/>
                </a:solidFill>
              </a:rPr>
              <a:t> --&gt; connectivity</a:t>
            </a:r>
          </a:p>
          <a:p>
            <a:endParaRPr lang="en-US" sz="1800">
              <a:solidFill>
                <a:srgbClr val="107C10"/>
              </a:solidFill>
              <a:latin typeface="Lucida Console" panose="020B0609040504020204" pitchFamily="49" charset="0"/>
            </a:endParaRPr>
          </a:p>
        </p:txBody>
      </p:sp>
      <p:sp>
        <p:nvSpPr>
          <p:cNvPr id="7" name="Rectangle 6">
            <a:extLst>
              <a:ext uri="{FF2B5EF4-FFF2-40B4-BE49-F238E27FC236}">
                <a16:creationId xmlns:a16="http://schemas.microsoft.com/office/drawing/2014/main" id="{B01DFF02-1A95-47D1-9701-35BE6F2E8ABA}"/>
              </a:ext>
            </a:extLst>
          </p:cNvPr>
          <p:cNvSpPr/>
          <p:nvPr/>
        </p:nvSpPr>
        <p:spPr>
          <a:xfrm>
            <a:off x="2500730" y="1103992"/>
            <a:ext cx="6412548" cy="2931997"/>
          </a:xfrm>
          <a:prstGeom prst="rect">
            <a:avLst/>
          </a:prstGeom>
          <a:ln>
            <a:solidFill>
              <a:schemeClr val="accent1"/>
            </a:solidFill>
          </a:ln>
          <a:effectLst/>
        </p:spPr>
        <p:txBody>
          <a:bodyPr wrap="square">
            <a:noAutofit/>
          </a:bodyPr>
          <a:lstStyle/>
          <a:p>
            <a:r>
              <a:rPr lang="en-US">
                <a:solidFill>
                  <a:srgbClr val="0000FF"/>
                </a:solidFill>
                <a:latin typeface="Lucida Console" panose="020B0609040504020204" pitchFamily="49" charset="0"/>
              </a:rPr>
              <a:t>SELECT</a:t>
            </a:r>
            <a:r>
              <a:rPr lang="en-US">
                <a:solidFill>
                  <a:srgbClr val="000000"/>
                </a:solidFill>
                <a:latin typeface="Lucida Console" panose="020B0609040504020204" pitchFamily="49" charset="0"/>
              </a:rPr>
              <a:t> *</a:t>
            </a:r>
          </a:p>
          <a:p>
            <a:r>
              <a:rPr lang="en-US">
                <a:solidFill>
                  <a:srgbClr val="0000FF"/>
                </a:solidFill>
                <a:latin typeface="Lucida Console" panose="020B0609040504020204" pitchFamily="49" charset="0"/>
              </a:rPr>
              <a:t>FROM</a:t>
            </a:r>
            <a:r>
              <a:rPr lang="en-US">
                <a:solidFill>
                  <a:srgbClr val="000000"/>
                </a:solidFill>
                <a:latin typeface="Lucida Console" panose="020B0609040504020204" pitchFamily="49" charset="0"/>
              </a:rPr>
              <a:t> </a:t>
            </a:r>
            <a:r>
              <a:rPr lang="en-US" err="1">
                <a:solidFill>
                  <a:srgbClr val="107C10"/>
                </a:solidFill>
                <a:latin typeface="Lucida Console" panose="020B0609040504020204" pitchFamily="49" charset="0"/>
              </a:rPr>
              <a:t>sys.dm_exec_sessions</a:t>
            </a:r>
            <a:r>
              <a:rPr lang="en-US">
                <a:solidFill>
                  <a:srgbClr val="808080"/>
                </a:solidFill>
                <a:latin typeface="Lucida Console" panose="020B0609040504020204" pitchFamily="49" charset="0"/>
              </a:rPr>
              <a:t>;</a:t>
            </a:r>
          </a:p>
          <a:p>
            <a:r>
              <a:rPr lang="en-US">
                <a:solidFill>
                  <a:srgbClr val="107C10"/>
                </a:solidFill>
              </a:rPr>
              <a:t>-- relevant data: </a:t>
            </a:r>
          </a:p>
          <a:p>
            <a:r>
              <a:rPr lang="en-US">
                <a:solidFill>
                  <a:srgbClr val="107C10"/>
                </a:solidFill>
              </a:rPr>
              <a:t>-- </a:t>
            </a:r>
            <a:r>
              <a:rPr lang="en-US" err="1">
                <a:solidFill>
                  <a:srgbClr val="107C10"/>
                </a:solidFill>
              </a:rPr>
              <a:t>session_id</a:t>
            </a:r>
            <a:r>
              <a:rPr lang="en-US">
                <a:solidFill>
                  <a:srgbClr val="107C10"/>
                </a:solidFill>
              </a:rPr>
              <a:t> --&gt; </a:t>
            </a:r>
            <a:r>
              <a:rPr lang="en-US" err="1">
                <a:solidFill>
                  <a:srgbClr val="107C10"/>
                </a:solidFill>
              </a:rPr>
              <a:t>spid</a:t>
            </a:r>
            <a:endParaRPr lang="en-US">
              <a:solidFill>
                <a:srgbClr val="107C10"/>
              </a:solidFill>
            </a:endParaRPr>
          </a:p>
          <a:p>
            <a:r>
              <a:rPr lang="en-US">
                <a:solidFill>
                  <a:srgbClr val="107C10"/>
                </a:solidFill>
              </a:rPr>
              <a:t>-- </a:t>
            </a:r>
            <a:r>
              <a:rPr lang="en-US" err="1">
                <a:solidFill>
                  <a:srgbClr val="107C10"/>
                </a:solidFill>
              </a:rPr>
              <a:t>host_name</a:t>
            </a:r>
            <a:r>
              <a:rPr lang="en-US">
                <a:solidFill>
                  <a:srgbClr val="107C10"/>
                </a:solidFill>
              </a:rPr>
              <a:t>, </a:t>
            </a:r>
            <a:r>
              <a:rPr lang="en-US" err="1">
                <a:solidFill>
                  <a:srgbClr val="107C10"/>
                </a:solidFill>
              </a:rPr>
              <a:t>program_name</a:t>
            </a:r>
            <a:r>
              <a:rPr lang="en-US">
                <a:solidFill>
                  <a:srgbClr val="107C10"/>
                </a:solidFill>
              </a:rPr>
              <a:t> --&gt; client identity </a:t>
            </a:r>
          </a:p>
          <a:p>
            <a:r>
              <a:rPr lang="en-US">
                <a:solidFill>
                  <a:srgbClr val="107C10"/>
                </a:solidFill>
              </a:rPr>
              <a:t>-- </a:t>
            </a:r>
            <a:r>
              <a:rPr lang="en-US" err="1">
                <a:solidFill>
                  <a:srgbClr val="107C10"/>
                </a:solidFill>
              </a:rPr>
              <a:t>login_name</a:t>
            </a:r>
            <a:r>
              <a:rPr lang="en-US">
                <a:solidFill>
                  <a:srgbClr val="107C10"/>
                </a:solidFill>
              </a:rPr>
              <a:t>, </a:t>
            </a:r>
            <a:r>
              <a:rPr lang="en-US" err="1">
                <a:solidFill>
                  <a:srgbClr val="107C10"/>
                </a:solidFill>
              </a:rPr>
              <a:t>nt_user_name</a:t>
            </a:r>
            <a:r>
              <a:rPr lang="en-US">
                <a:solidFill>
                  <a:srgbClr val="107C10"/>
                </a:solidFill>
              </a:rPr>
              <a:t> --&gt; login identity</a:t>
            </a:r>
          </a:p>
          <a:p>
            <a:r>
              <a:rPr lang="en-US">
                <a:solidFill>
                  <a:srgbClr val="107C10"/>
                </a:solidFill>
              </a:rPr>
              <a:t>-- status --&gt; activity</a:t>
            </a:r>
          </a:p>
          <a:p>
            <a:r>
              <a:rPr lang="en-US">
                <a:solidFill>
                  <a:srgbClr val="107C10"/>
                </a:solidFill>
              </a:rPr>
              <a:t>-- </a:t>
            </a:r>
            <a:r>
              <a:rPr lang="en-US" err="1">
                <a:solidFill>
                  <a:srgbClr val="107C10"/>
                </a:solidFill>
              </a:rPr>
              <a:t>database_id</a:t>
            </a:r>
            <a:r>
              <a:rPr lang="en-US">
                <a:solidFill>
                  <a:srgbClr val="107C10"/>
                </a:solidFill>
              </a:rPr>
              <a:t> --&gt; database being accessed</a:t>
            </a:r>
          </a:p>
          <a:p>
            <a:r>
              <a:rPr lang="en-US">
                <a:solidFill>
                  <a:srgbClr val="107C10"/>
                </a:solidFill>
              </a:rPr>
              <a:t>-- </a:t>
            </a:r>
            <a:r>
              <a:rPr lang="en-US" err="1">
                <a:solidFill>
                  <a:srgbClr val="107C10"/>
                </a:solidFill>
              </a:rPr>
              <a:t>open_transaction_count</a:t>
            </a:r>
            <a:r>
              <a:rPr lang="en-US">
                <a:solidFill>
                  <a:srgbClr val="107C10"/>
                </a:solidFill>
              </a:rPr>
              <a:t> --&gt; blocking identification</a:t>
            </a:r>
          </a:p>
          <a:p>
            <a:endParaRPr lang="en-US" sz="1800">
              <a:solidFill>
                <a:srgbClr val="107C10"/>
              </a:solidFill>
              <a:latin typeface="Lucida Console" panose="020B0609040504020204" pitchFamily="49" charset="0"/>
            </a:endParaRPr>
          </a:p>
        </p:txBody>
      </p:sp>
      <p:sp>
        <p:nvSpPr>
          <p:cNvPr id="9" name="Rectangle 8">
            <a:extLst>
              <a:ext uri="{FF2B5EF4-FFF2-40B4-BE49-F238E27FC236}">
                <a16:creationId xmlns:a16="http://schemas.microsoft.com/office/drawing/2014/main" id="{C69E21C2-4C59-414D-956B-6534ED10607A}"/>
              </a:ext>
            </a:extLst>
          </p:cNvPr>
          <p:cNvSpPr/>
          <p:nvPr/>
        </p:nvSpPr>
        <p:spPr>
          <a:xfrm>
            <a:off x="2500730" y="1134524"/>
            <a:ext cx="6436360" cy="2952854"/>
          </a:xfrm>
          <a:prstGeom prst="rect">
            <a:avLst/>
          </a:prstGeom>
          <a:ln>
            <a:solidFill>
              <a:schemeClr val="accent1"/>
            </a:solidFill>
          </a:ln>
          <a:effectLst/>
        </p:spPr>
        <p:txBody>
          <a:bodyPr wrap="square">
            <a:noAutofit/>
          </a:bodyPr>
          <a:lstStyle/>
          <a:p>
            <a:r>
              <a:rPr lang="en-US" dirty="0">
                <a:solidFill>
                  <a:srgbClr val="0000FF"/>
                </a:solidFill>
                <a:latin typeface="Lucida Console" panose="020B0609040504020204" pitchFamily="49" charset="0"/>
              </a:rPr>
              <a:t>SELECT</a:t>
            </a:r>
            <a:r>
              <a:rPr lang="en-US" dirty="0">
                <a:solidFill>
                  <a:srgbClr val="000000"/>
                </a:solidFill>
                <a:latin typeface="Lucida Console" panose="020B0609040504020204" pitchFamily="49" charset="0"/>
              </a:rPr>
              <a:t> *</a:t>
            </a:r>
          </a:p>
          <a:p>
            <a:r>
              <a:rPr lang="en-US" dirty="0">
                <a:solidFill>
                  <a:srgbClr val="0000FF"/>
                </a:solidFill>
                <a:latin typeface="Lucida Console" panose="020B0609040504020204" pitchFamily="49" charset="0"/>
              </a:rPr>
              <a:t>FROM</a:t>
            </a:r>
            <a:r>
              <a:rPr lang="en-US" dirty="0">
                <a:solidFill>
                  <a:srgbClr val="000000"/>
                </a:solidFill>
                <a:latin typeface="Lucida Console" panose="020B0609040504020204" pitchFamily="49" charset="0"/>
              </a:rPr>
              <a:t> </a:t>
            </a:r>
            <a:r>
              <a:rPr lang="en-US" dirty="0">
                <a:solidFill>
                  <a:srgbClr val="107C10"/>
                </a:solidFill>
                <a:latin typeface="Lucida Console" panose="020B0609040504020204" pitchFamily="49" charset="0"/>
              </a:rPr>
              <a:t>sys.dm_os_tasks</a:t>
            </a:r>
            <a:r>
              <a:rPr lang="en-US" dirty="0">
                <a:solidFill>
                  <a:srgbClr val="808080"/>
                </a:solidFill>
                <a:latin typeface="Lucida Console" panose="020B0609040504020204" pitchFamily="49" charset="0"/>
              </a:rPr>
              <a:t>;</a:t>
            </a:r>
          </a:p>
          <a:p>
            <a:r>
              <a:rPr lang="en-US" dirty="0">
                <a:solidFill>
                  <a:srgbClr val="107C10"/>
                </a:solidFill>
              </a:rPr>
              <a:t>-- relevant data: </a:t>
            </a:r>
          </a:p>
          <a:p>
            <a:r>
              <a:rPr lang="en-US" dirty="0">
                <a:solidFill>
                  <a:srgbClr val="107C10"/>
                </a:solidFill>
              </a:rPr>
              <a:t>-- </a:t>
            </a:r>
            <a:r>
              <a:rPr lang="en-US" dirty="0" err="1">
                <a:solidFill>
                  <a:srgbClr val="107C10"/>
                </a:solidFill>
              </a:rPr>
              <a:t>task_state</a:t>
            </a:r>
            <a:r>
              <a:rPr lang="en-US" dirty="0">
                <a:solidFill>
                  <a:srgbClr val="107C10"/>
                </a:solidFill>
              </a:rPr>
              <a:t> --&gt; running, suspended</a:t>
            </a:r>
          </a:p>
          <a:p>
            <a:r>
              <a:rPr lang="en-US" dirty="0">
                <a:solidFill>
                  <a:srgbClr val="107C10"/>
                </a:solidFill>
              </a:rPr>
              <a:t>-- </a:t>
            </a:r>
            <a:r>
              <a:rPr lang="en-US" dirty="0" err="1">
                <a:solidFill>
                  <a:srgbClr val="107C10"/>
                </a:solidFill>
              </a:rPr>
              <a:t>pending_io</a:t>
            </a:r>
            <a:r>
              <a:rPr lang="en-US" dirty="0">
                <a:solidFill>
                  <a:srgbClr val="107C10"/>
                </a:solidFill>
              </a:rPr>
              <a:t>_* --&gt; I/O activity</a:t>
            </a:r>
            <a:endParaRPr lang="en-US" dirty="0">
              <a:solidFill>
                <a:srgbClr val="107C10"/>
              </a:solidFill>
              <a:sym typeface="Wingdings" panose="05000000000000000000" pitchFamily="2" charset="2"/>
            </a:endParaRPr>
          </a:p>
          <a:p>
            <a:r>
              <a:rPr lang="en-US" dirty="0">
                <a:solidFill>
                  <a:srgbClr val="107C10"/>
                </a:solidFill>
              </a:rPr>
              <a:t>-- </a:t>
            </a:r>
            <a:r>
              <a:rPr lang="en-US" dirty="0" err="1">
                <a:solidFill>
                  <a:srgbClr val="107C10"/>
                </a:solidFill>
              </a:rPr>
              <a:t>scheduler_id</a:t>
            </a:r>
            <a:r>
              <a:rPr lang="en-US" dirty="0">
                <a:solidFill>
                  <a:srgbClr val="107C10"/>
                </a:solidFill>
              </a:rPr>
              <a:t> --&gt;processor info</a:t>
            </a:r>
          </a:p>
          <a:p>
            <a:r>
              <a:rPr lang="en-US" dirty="0">
                <a:solidFill>
                  <a:srgbClr val="107C10"/>
                </a:solidFill>
              </a:rPr>
              <a:t>-- </a:t>
            </a:r>
            <a:r>
              <a:rPr lang="en-US" dirty="0" err="1">
                <a:solidFill>
                  <a:srgbClr val="107C10"/>
                </a:solidFill>
              </a:rPr>
              <a:t>session_id</a:t>
            </a:r>
            <a:r>
              <a:rPr lang="en-US" dirty="0">
                <a:solidFill>
                  <a:srgbClr val="107C10"/>
                </a:solidFill>
              </a:rPr>
              <a:t> --&gt; </a:t>
            </a:r>
            <a:r>
              <a:rPr lang="en-US" dirty="0" err="1">
                <a:solidFill>
                  <a:srgbClr val="107C10"/>
                </a:solidFill>
              </a:rPr>
              <a:t>spid</a:t>
            </a:r>
            <a:endParaRPr lang="en-US" dirty="0">
              <a:solidFill>
                <a:srgbClr val="107C10"/>
              </a:solidFill>
            </a:endParaRPr>
          </a:p>
        </p:txBody>
      </p:sp>
    </p:spTree>
    <p:custDataLst>
      <p:tags r:id="rId1"/>
    </p:custDataLst>
    <p:extLst>
      <p:ext uri="{BB962C8B-B14F-4D97-AF65-F5344CB8AC3E}">
        <p14:creationId xmlns:p14="http://schemas.microsoft.com/office/powerpoint/2010/main" val="2558109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graphicEl>
                                              <a:dgm id="{7B8051FB-BC62-46CE-B64B-C20C26FF8733}"/>
                                            </p:graphicEl>
                                          </p:spTgt>
                                        </p:tgtEl>
                                        <p:attrNameLst>
                                          <p:attrName>style.visibility</p:attrName>
                                        </p:attrNameLst>
                                      </p:cBhvr>
                                      <p:to>
                                        <p:strVal val="visible"/>
                                      </p:to>
                                    </p:set>
                                    <p:animEffect transition="in" filter="fade">
                                      <p:cBhvr>
                                        <p:cTn id="7" dur="500"/>
                                        <p:tgtEl>
                                          <p:spTgt spid="4">
                                            <p:graphicEl>
                                              <a:dgm id="{7B8051FB-BC62-46CE-B64B-C20C26FF8733}"/>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graphicEl>
                                              <a:dgm id="{B566A5F5-F633-42FA-B00A-F889EE627FCA}"/>
                                            </p:graphicEl>
                                          </p:spTgt>
                                        </p:tgtEl>
                                        <p:attrNameLst>
                                          <p:attrName>style.visibility</p:attrName>
                                        </p:attrNameLst>
                                      </p:cBhvr>
                                      <p:to>
                                        <p:strVal val="visible"/>
                                      </p:to>
                                    </p:set>
                                    <p:animEffect transition="in" filter="fade">
                                      <p:cBhvr>
                                        <p:cTn id="10" dur="500"/>
                                        <p:tgtEl>
                                          <p:spTgt spid="4">
                                            <p:graphicEl>
                                              <a:dgm id="{B566A5F5-F633-42FA-B00A-F889EE627FCA}"/>
                                            </p:graphicEl>
                                          </p:spTgt>
                                        </p:tgtEl>
                                      </p:cBhvr>
                                    </p:animEffec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graphicEl>
                                              <a:dgm id="{EE391E63-3232-4590-967C-50A8A5755BEA}"/>
                                            </p:graphicEl>
                                          </p:spTgt>
                                        </p:tgtEl>
                                        <p:attrNameLst>
                                          <p:attrName>style.visibility</p:attrName>
                                        </p:attrNameLst>
                                      </p:cBhvr>
                                      <p:to>
                                        <p:strVal val="visible"/>
                                      </p:to>
                                    </p:set>
                                    <p:animEffect transition="in" filter="fade">
                                      <p:cBhvr>
                                        <p:cTn id="17" dur="500"/>
                                        <p:tgtEl>
                                          <p:spTgt spid="4">
                                            <p:graphicEl>
                                              <a:dgm id="{EE391E63-3232-4590-967C-50A8A5755BEA}"/>
                                            </p:graphicEl>
                                          </p:spTgt>
                                        </p:tgtEl>
                                      </p:cBhvr>
                                    </p:animEffect>
                                  </p:childTnLst>
                                </p:cTn>
                              </p:par>
                              <p:par>
                                <p:cTn id="18" presetID="1" presetClass="exit" presetSubtype="0" fill="hold" grpId="1" nodeType="withEffect">
                                  <p:stCondLst>
                                    <p:cond delay="0"/>
                                  </p:stCondLst>
                                  <p:childTnLst>
                                    <p:set>
                                      <p:cBhvr>
                                        <p:cTn id="19" dur="1" fill="hold">
                                          <p:stCondLst>
                                            <p:cond delay="0"/>
                                          </p:stCondLst>
                                        </p:cTn>
                                        <p:tgtEl>
                                          <p:spTgt spid="2"/>
                                        </p:tgtEl>
                                        <p:attrNameLst>
                                          <p:attrName>style.visibility</p:attrName>
                                        </p:attrNameLst>
                                      </p:cBhvr>
                                      <p:to>
                                        <p:strVal val="hidden"/>
                                      </p:to>
                                    </p:set>
                                  </p:childTnLst>
                                </p:cTn>
                              </p:par>
                              <p:par>
                                <p:cTn id="20" presetID="1" presetClass="entr" presetSubtype="0"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4">
                                            <p:graphicEl>
                                              <a:dgm id="{0DA0DEB4-C604-4F8B-A20B-AA42D9467CA9}"/>
                                            </p:graphicEl>
                                          </p:spTgt>
                                        </p:tgtEl>
                                        <p:attrNameLst>
                                          <p:attrName>style.visibility</p:attrName>
                                        </p:attrNameLst>
                                      </p:cBhvr>
                                      <p:to>
                                        <p:strVal val="visible"/>
                                      </p:to>
                                    </p:set>
                                    <p:animEffect transition="in" filter="fade">
                                      <p:cBhvr>
                                        <p:cTn id="26" dur="500"/>
                                        <p:tgtEl>
                                          <p:spTgt spid="4">
                                            <p:graphicEl>
                                              <a:dgm id="{0DA0DEB4-C604-4F8B-A20B-AA42D9467CA9}"/>
                                            </p:graphicEl>
                                          </p:spTgt>
                                        </p:tgtEl>
                                      </p:cBhvr>
                                    </p:animEffect>
                                  </p:childTnLst>
                                </p:cTn>
                              </p:par>
                              <p:par>
                                <p:cTn id="27" presetID="1" presetClass="exit" presetSubtype="0" fill="hold" grpId="1" nodeType="withEffect">
                                  <p:stCondLst>
                                    <p:cond delay="0"/>
                                  </p:stCondLst>
                                  <p:childTnLst>
                                    <p:set>
                                      <p:cBhvr>
                                        <p:cTn id="28" dur="1" fill="hold">
                                          <p:stCondLst>
                                            <p:cond delay="0"/>
                                          </p:stCondLst>
                                        </p:cTn>
                                        <p:tgtEl>
                                          <p:spTgt spid="7"/>
                                        </p:tgtEl>
                                        <p:attrNameLst>
                                          <p:attrName>style.visibility</p:attrName>
                                        </p:attrNameLst>
                                      </p:cBhvr>
                                      <p:to>
                                        <p:strVal val="hidden"/>
                                      </p:to>
                                    </p:set>
                                  </p:childTnLst>
                                </p:cTn>
                              </p:par>
                              <p:par>
                                <p:cTn id="29" presetID="1" presetClass="entr" presetSubtype="0" fill="hold" grpId="0" nodeType="withEffect">
                                  <p:stCondLst>
                                    <p:cond delay="0"/>
                                  </p:stCondLst>
                                  <p:childTnLst>
                                    <p:set>
                                      <p:cBhvr>
                                        <p:cTn id="30" dur="1" fill="hold">
                                          <p:stCondLst>
                                            <p:cond delay="0"/>
                                          </p:stCondLst>
                                        </p:cTn>
                                        <p:tgtEl>
                                          <p:spTgt spid="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
                                            <p:graphicEl>
                                              <a:dgm id="{AF20E609-485D-42B7-B807-368444824392}"/>
                                            </p:graphicEl>
                                          </p:spTgt>
                                        </p:tgtEl>
                                        <p:attrNameLst>
                                          <p:attrName>style.visibility</p:attrName>
                                        </p:attrNameLst>
                                      </p:cBhvr>
                                      <p:to>
                                        <p:strVal val="visible"/>
                                      </p:to>
                                    </p:set>
                                    <p:animEffect transition="in" filter="fade">
                                      <p:cBhvr>
                                        <p:cTn id="35" dur="500"/>
                                        <p:tgtEl>
                                          <p:spTgt spid="4">
                                            <p:graphicEl>
                                              <a:dgm id="{AF20E609-485D-42B7-B807-368444824392}"/>
                                            </p:graphicEl>
                                          </p:spTgt>
                                        </p:tgtEl>
                                      </p:cBhvr>
                                    </p:animEffect>
                                  </p:childTnLst>
                                </p:cTn>
                              </p:par>
                              <p:par>
                                <p:cTn id="36" presetID="1" presetClass="exit" presetSubtype="0" fill="hold" grpId="1" nodeType="withEffect">
                                  <p:stCondLst>
                                    <p:cond delay="0"/>
                                  </p:stCondLst>
                                  <p:childTnLst>
                                    <p:set>
                                      <p:cBhvr>
                                        <p:cTn id="37" dur="1" fill="hold">
                                          <p:stCondLst>
                                            <p:cond delay="0"/>
                                          </p:stCondLst>
                                        </p:cTn>
                                        <p:tgtEl>
                                          <p:spTgt spid="8"/>
                                        </p:tgtEl>
                                        <p:attrNameLst>
                                          <p:attrName>style.visibility</p:attrName>
                                        </p:attrNameLst>
                                      </p:cBhvr>
                                      <p:to>
                                        <p:strVal val="hidden"/>
                                      </p:to>
                                    </p:set>
                                  </p:childTnLst>
                                </p:cTn>
                              </p:par>
                              <p:par>
                                <p:cTn id="38" presetID="1" presetClass="entr" presetSubtype="0" fill="hold" grpId="0" nodeType="withEffect">
                                  <p:stCondLst>
                                    <p:cond delay="0"/>
                                  </p:stCondLst>
                                  <p:childTnLst>
                                    <p:set>
                                      <p:cBhvr>
                                        <p:cTn id="39" dur="1" fill="hold">
                                          <p:stCondLst>
                                            <p:cond delay="0"/>
                                          </p:stCondLst>
                                        </p:cTn>
                                        <p:tgtEl>
                                          <p:spTgt spid="9"/>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xit" presetSubtype="0" fill="hold" grpId="1" nodeType="clickEffect">
                                  <p:stCondLst>
                                    <p:cond delay="0"/>
                                  </p:stCondLst>
                                  <p:childTnLst>
                                    <p:set>
                                      <p:cBhvr>
                                        <p:cTn id="43" dur="1" fill="hold">
                                          <p:stCondLst>
                                            <p:cond delay="0"/>
                                          </p:stCondLst>
                                        </p:cTn>
                                        <p:tgtEl>
                                          <p:spTgt spid="9"/>
                                        </p:tgtEl>
                                        <p:attrNameLst>
                                          <p:attrName>style.visibility</p:attrName>
                                        </p:attrNameLst>
                                      </p:cBhvr>
                                      <p:to>
                                        <p:strVal val="hidden"/>
                                      </p:to>
                                    </p:set>
                                  </p:childTnLst>
                                </p:cTn>
                              </p:par>
                              <p:par>
                                <p:cTn id="44" presetID="1" presetClass="entr" presetSubtype="0" fill="hold" grpId="0" nodeType="withEffect">
                                  <p:stCondLst>
                                    <p:cond delay="0"/>
                                  </p:stCondLst>
                                  <p:childTnLst>
                                    <p:set>
                                      <p:cBhvr>
                                        <p:cTn id="45" dur="1" fill="hold">
                                          <p:stCondLst>
                                            <p:cond delay="0"/>
                                          </p:stCondLst>
                                        </p:cTn>
                                        <p:tgtEl>
                                          <p:spTgt spid="11"/>
                                        </p:tgtEl>
                                        <p:attrNameLst>
                                          <p:attrName>style.visibility</p:attrName>
                                        </p:attrNameLst>
                                      </p:cBhvr>
                                      <p:to>
                                        <p:strVal val="visible"/>
                                      </p:to>
                                    </p:set>
                                  </p:childTnLst>
                                </p:cTn>
                              </p:par>
                              <p:par>
                                <p:cTn id="46" presetID="10" presetClass="entr" presetSubtype="0" fill="hold" grpId="0" nodeType="withEffect">
                                  <p:stCondLst>
                                    <p:cond delay="0"/>
                                  </p:stCondLst>
                                  <p:childTnLst>
                                    <p:set>
                                      <p:cBhvr>
                                        <p:cTn id="47" dur="1" fill="hold">
                                          <p:stCondLst>
                                            <p:cond delay="0"/>
                                          </p:stCondLst>
                                        </p:cTn>
                                        <p:tgtEl>
                                          <p:spTgt spid="4">
                                            <p:graphicEl>
                                              <a:dgm id="{A751D8E3-2DEF-45E7-8417-EFB716BD6F51}"/>
                                            </p:graphicEl>
                                          </p:spTgt>
                                        </p:tgtEl>
                                        <p:attrNameLst>
                                          <p:attrName>style.visibility</p:attrName>
                                        </p:attrNameLst>
                                      </p:cBhvr>
                                      <p:to>
                                        <p:strVal val="visible"/>
                                      </p:to>
                                    </p:set>
                                    <p:animEffect transition="in" filter="fade">
                                      <p:cBhvr>
                                        <p:cTn id="48" dur="500"/>
                                        <p:tgtEl>
                                          <p:spTgt spid="4">
                                            <p:graphicEl>
                                              <a:dgm id="{A751D8E3-2DEF-45E7-8417-EFB716BD6F51}"/>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animBg="1"/>
      <p:bldP spid="8" grpId="1" uiExpand="1" animBg="1"/>
      <p:bldP spid="11" grpId="0" uiExpand="1" animBg="1"/>
      <p:bldGraphic spid="4" grpId="0" uiExpand="1">
        <p:bldSub>
          <a:bldDgm bld="one"/>
        </p:bldSub>
      </p:bldGraphic>
      <p:bldP spid="2" grpId="0" uiExpand="1" animBg="1"/>
      <p:bldP spid="2" grpId="1" uiExpand="1" animBg="1"/>
      <p:bldP spid="7" grpId="0" uiExpand="1" animBg="1"/>
      <p:bldP spid="7" grpId="1" uiExpand="1" animBg="1"/>
      <p:bldP spid="9" grpId="0" uiExpand="1" animBg="1"/>
      <p:bldP spid="9" grpId="1" uiExpan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cheduling Types</a:t>
            </a:r>
          </a:p>
        </p:txBody>
      </p:sp>
      <p:graphicFrame>
        <p:nvGraphicFramePr>
          <p:cNvPr id="2" name="Content Placeholder 1">
            <a:extLst>
              <a:ext uri="{FF2B5EF4-FFF2-40B4-BE49-F238E27FC236}">
                <a16:creationId xmlns:a16="http://schemas.microsoft.com/office/drawing/2014/main" id="{0D89EE5E-0829-4FC2-8A0D-9BE67EA4A5F7}"/>
              </a:ext>
            </a:extLst>
          </p:cNvPr>
          <p:cNvGraphicFramePr>
            <a:graphicFrameLocks noGrp="1"/>
          </p:cNvGraphicFramePr>
          <p:nvPr>
            <p:ph sz="quarter" idx="13"/>
            <p:extLst>
              <p:ext uri="{D42A27DB-BD31-4B8C-83A1-F6EECF244321}">
                <p14:modId xmlns:p14="http://schemas.microsoft.com/office/powerpoint/2010/main" val="3395351528"/>
              </p:ext>
            </p:extLst>
          </p:nvPr>
        </p:nvGraphicFramePr>
        <p:xfrm>
          <a:off x="655638" y="1154114"/>
          <a:ext cx="10880726" cy="512984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239965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SQL Server Task Scheduling</a:t>
            </a:r>
          </a:p>
        </p:txBody>
      </p:sp>
      <p:graphicFrame>
        <p:nvGraphicFramePr>
          <p:cNvPr id="4" name="Content Placeholder 3">
            <a:extLst>
              <a:ext uri="{FF2B5EF4-FFF2-40B4-BE49-F238E27FC236}">
                <a16:creationId xmlns:a16="http://schemas.microsoft.com/office/drawing/2014/main" id="{0FA377F3-E488-4F45-BF29-6E607702DF83}"/>
              </a:ext>
            </a:extLst>
          </p:cNvPr>
          <p:cNvGraphicFramePr>
            <a:graphicFrameLocks noGrp="1"/>
          </p:cNvGraphicFramePr>
          <p:nvPr>
            <p:ph sz="quarter" idx="13"/>
            <p:extLst>
              <p:ext uri="{D42A27DB-BD31-4B8C-83A1-F6EECF244321}">
                <p14:modId xmlns:p14="http://schemas.microsoft.com/office/powerpoint/2010/main" val="413354755"/>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6888226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Waits and Queues</a:t>
            </a:r>
          </a:p>
        </p:txBody>
      </p:sp>
      <p:graphicFrame>
        <p:nvGraphicFramePr>
          <p:cNvPr id="2" name="Content Placeholder 1">
            <a:extLst>
              <a:ext uri="{FF2B5EF4-FFF2-40B4-BE49-F238E27FC236}">
                <a16:creationId xmlns:a16="http://schemas.microsoft.com/office/drawing/2014/main" id="{12CAC5E0-339E-4546-BF78-078397760075}"/>
              </a:ext>
            </a:extLst>
          </p:cNvPr>
          <p:cNvGraphicFramePr>
            <a:graphicFrameLocks noGrp="1"/>
          </p:cNvGraphicFramePr>
          <p:nvPr>
            <p:ph sz="quarter" idx="13"/>
            <p:extLst>
              <p:ext uri="{D42A27DB-BD31-4B8C-83A1-F6EECF244321}">
                <p14:modId xmlns:p14="http://schemas.microsoft.com/office/powerpoint/2010/main" val="2359085608"/>
              </p:ext>
            </p:extLst>
          </p:nvPr>
        </p:nvGraphicFramePr>
        <p:xfrm>
          <a:off x="655638" y="1193369"/>
          <a:ext cx="10880726" cy="50343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833611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a:solidFill>
                  <a:schemeClr val="accent1"/>
                </a:solidFill>
                <a:latin typeface="+mn-lt"/>
              </a:rPr>
              <a:t>Thread States and Queues</a:t>
            </a:r>
          </a:p>
        </p:txBody>
      </p:sp>
      <p:graphicFrame>
        <p:nvGraphicFramePr>
          <p:cNvPr id="3" name="Diagram 2">
            <a:extLst>
              <a:ext uri="{FF2B5EF4-FFF2-40B4-BE49-F238E27FC236}">
                <a16:creationId xmlns:a16="http://schemas.microsoft.com/office/drawing/2014/main" id="{8C5A161C-459C-47E2-A87D-EE120BBEB10F}"/>
              </a:ext>
            </a:extLst>
          </p:cNvPr>
          <p:cNvGraphicFramePr/>
          <p:nvPr>
            <p:extLst>
              <p:ext uri="{D42A27DB-BD31-4B8C-83A1-F6EECF244321}">
                <p14:modId xmlns:p14="http://schemas.microsoft.com/office/powerpoint/2010/main" val="493413401"/>
              </p:ext>
            </p:extLst>
          </p:nvPr>
        </p:nvGraphicFramePr>
        <p:xfrm>
          <a:off x="419348" y="901701"/>
          <a:ext cx="11353305" cy="54805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803672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Yielding</a:t>
            </a:r>
          </a:p>
        </p:txBody>
      </p:sp>
      <p:graphicFrame>
        <p:nvGraphicFramePr>
          <p:cNvPr id="2" name="Content Placeholder 1">
            <a:extLst>
              <a:ext uri="{FF2B5EF4-FFF2-40B4-BE49-F238E27FC236}">
                <a16:creationId xmlns:a16="http://schemas.microsoft.com/office/drawing/2014/main" id="{69E14DDC-DD3E-494F-BA44-6C3034737461}"/>
              </a:ext>
            </a:extLst>
          </p:cNvPr>
          <p:cNvGraphicFramePr>
            <a:graphicFrameLocks noGrp="1"/>
          </p:cNvGraphicFramePr>
          <p:nvPr>
            <p:ph sz="quarter" idx="13"/>
            <p:extLst>
              <p:ext uri="{D42A27DB-BD31-4B8C-83A1-F6EECF244321}">
                <p14:modId xmlns:p14="http://schemas.microsoft.com/office/powerpoint/2010/main" val="3381902567"/>
              </p:ext>
            </p:extLst>
          </p:nvPr>
        </p:nvGraphicFramePr>
        <p:xfrm>
          <a:off x="655638" y="1092200"/>
          <a:ext cx="10880725" cy="532129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7087579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8080" y="159843"/>
            <a:ext cx="11655840" cy="899537"/>
          </a:xfrm>
        </p:spPr>
        <p:txBody>
          <a:bodyPr/>
          <a:lstStyle/>
          <a:p>
            <a:r>
              <a:rPr lang="en-US" sz="4000" b="1" dirty="0">
                <a:solidFill>
                  <a:schemeClr val="accent1"/>
                </a:solidFill>
              </a:rPr>
              <a:t>Yielding </a:t>
            </a:r>
          </a:p>
        </p:txBody>
      </p:sp>
      <p:grpSp>
        <p:nvGrpSpPr>
          <p:cNvPr id="27" name="Group 26">
            <a:extLst>
              <a:ext uri="{FF2B5EF4-FFF2-40B4-BE49-F238E27FC236}">
                <a16:creationId xmlns:a16="http://schemas.microsoft.com/office/drawing/2014/main" id="{7601F592-A5F0-42C2-8412-7BDC5944ADE5}"/>
              </a:ext>
            </a:extLst>
          </p:cNvPr>
          <p:cNvGrpSpPr/>
          <p:nvPr/>
        </p:nvGrpSpPr>
        <p:grpSpPr>
          <a:xfrm>
            <a:off x="799453" y="1189494"/>
            <a:ext cx="10593094" cy="5231572"/>
            <a:chOff x="666867" y="907088"/>
            <a:chExt cx="10805508" cy="5336476"/>
          </a:xfrm>
        </p:grpSpPr>
        <p:sp>
          <p:nvSpPr>
            <p:cNvPr id="28" name="Oval 27" descr="A black circle representing the start of a task." title="Start">
              <a:extLst>
                <a:ext uri="{FF2B5EF4-FFF2-40B4-BE49-F238E27FC236}">
                  <a16:creationId xmlns:a16="http://schemas.microsoft.com/office/drawing/2014/main" id="{F7386285-8275-4DE3-84F0-5D12B5FBF37C}"/>
                </a:ext>
              </a:extLst>
            </p:cNvPr>
            <p:cNvSpPr/>
            <p:nvPr/>
          </p:nvSpPr>
          <p:spPr bwMode="auto">
            <a:xfrm>
              <a:off x="666867" y="1115637"/>
              <a:ext cx="661591" cy="660630"/>
            </a:xfrm>
            <a:prstGeom prst="ellipse">
              <a:avLst/>
            </a:prstGeom>
            <a:solidFill>
              <a:srgbClr val="2098D5">
                <a:lumMod val="75000"/>
              </a:srgbClr>
            </a:solidFill>
            <a:ln w="76200" cap="flat" cmpd="sng" algn="ctr">
              <a:solidFill>
                <a:srgbClr val="2098D5">
                  <a:lumMod val="50000"/>
                </a:srgbClr>
              </a:solidFill>
              <a:prstDash val="solid"/>
              <a:round/>
              <a:headEnd type="none" w="med" len="med"/>
              <a:tailEnd type="none" w="med" len="med"/>
            </a:ln>
            <a:effectLst/>
          </p:spPr>
          <p:txBody>
            <a:bodyPr vert="horz" wrap="square" lIns="179285" tIns="44821" rIns="179285" bIns="44821" numCol="1" rtlCol="0" anchor="ctr" anchorCtr="0" compatLnSpc="1">
              <a:prstTxWarp prst="textNoShape">
                <a:avLst/>
              </a:prstTxWarp>
            </a:bodyPr>
            <a:lstStyle/>
            <a:p>
              <a:pPr algn="ctr" defTabSz="896386" eaLnBrk="0" fontAlgn="base" hangingPunct="0">
                <a:spcBef>
                  <a:spcPct val="0"/>
                </a:spcBef>
                <a:spcAft>
                  <a:spcPct val="0"/>
                </a:spcAft>
                <a:defRPr/>
              </a:pPr>
              <a:endParaRPr lang="en-US" sz="1765" b="1" kern="0" dirty="0">
                <a:solidFill>
                  <a:srgbClr val="000000"/>
                </a:solidFill>
                <a:latin typeface="Verdana" pitchFamily="34" charset="0"/>
                <a:cs typeface="Arial" charset="0"/>
              </a:endParaRPr>
            </a:p>
          </p:txBody>
        </p:sp>
        <p:sp>
          <p:nvSpPr>
            <p:cNvPr id="29" name="Oval 28">
              <a:extLst>
                <a:ext uri="{FF2B5EF4-FFF2-40B4-BE49-F238E27FC236}">
                  <a16:creationId xmlns:a16="http://schemas.microsoft.com/office/drawing/2014/main" id="{5C18D1A0-24FE-417E-9704-F0081B05CC60}"/>
                </a:ext>
              </a:extLst>
            </p:cNvPr>
            <p:cNvSpPr/>
            <p:nvPr/>
          </p:nvSpPr>
          <p:spPr bwMode="auto">
            <a:xfrm>
              <a:off x="10825816" y="3261822"/>
              <a:ext cx="517247" cy="470987"/>
            </a:xfrm>
            <a:prstGeom prst="ellipse">
              <a:avLst/>
            </a:prstGeom>
            <a:solidFill>
              <a:srgbClr val="2098D5">
                <a:lumMod val="75000"/>
              </a:srgbClr>
            </a:solidFill>
            <a:ln w="9525" cap="flat" cmpd="sng" algn="ctr">
              <a:noFill/>
              <a:prstDash val="solid"/>
              <a:round/>
              <a:headEnd type="none" w="med" len="med"/>
              <a:tailEnd type="none" w="med" len="med"/>
            </a:ln>
            <a:effectLst/>
          </p:spPr>
          <p:txBody>
            <a:bodyPr vert="horz" wrap="square" lIns="179285" tIns="44821" rIns="179285" bIns="44821" numCol="1" rtlCol="0" anchor="ctr" anchorCtr="0" compatLnSpc="1">
              <a:prstTxWarp prst="textNoShape">
                <a:avLst/>
              </a:prstTxWarp>
            </a:bodyPr>
            <a:lstStyle/>
            <a:p>
              <a:pPr algn="ctr" defTabSz="896386" eaLnBrk="0" fontAlgn="base" hangingPunct="0">
                <a:spcBef>
                  <a:spcPct val="0"/>
                </a:spcBef>
                <a:spcAft>
                  <a:spcPct val="0"/>
                </a:spcAft>
                <a:defRPr/>
              </a:pPr>
              <a:endParaRPr lang="en-US" sz="1765" b="1" kern="0" dirty="0">
                <a:solidFill>
                  <a:srgbClr val="000000"/>
                </a:solidFill>
                <a:latin typeface="Verdana" pitchFamily="34" charset="0"/>
                <a:cs typeface="Arial" charset="0"/>
              </a:endParaRPr>
            </a:p>
          </p:txBody>
        </p:sp>
        <p:sp>
          <p:nvSpPr>
            <p:cNvPr id="30" name="Oval 29">
              <a:extLst>
                <a:ext uri="{FF2B5EF4-FFF2-40B4-BE49-F238E27FC236}">
                  <a16:creationId xmlns:a16="http://schemas.microsoft.com/office/drawing/2014/main" id="{4144FB25-5F66-4958-A8EE-53BE064BCD7A}"/>
                </a:ext>
              </a:extLst>
            </p:cNvPr>
            <p:cNvSpPr/>
            <p:nvPr/>
          </p:nvSpPr>
          <p:spPr bwMode="auto">
            <a:xfrm>
              <a:off x="10696504" y="3144075"/>
              <a:ext cx="775871" cy="706480"/>
            </a:xfrm>
            <a:prstGeom prst="ellipse">
              <a:avLst/>
            </a:prstGeom>
            <a:noFill/>
            <a:ln w="63500" cap="flat" cmpd="sng" algn="ctr">
              <a:solidFill>
                <a:srgbClr val="2098D5">
                  <a:lumMod val="50000"/>
                </a:srgbClr>
              </a:solidFill>
              <a:prstDash val="solid"/>
              <a:round/>
              <a:headEnd type="none" w="med" len="med"/>
              <a:tailEnd type="none" w="med" len="med"/>
            </a:ln>
            <a:effectLst/>
          </p:spPr>
          <p:txBody>
            <a:bodyPr vert="horz" wrap="square" lIns="179285" tIns="44821" rIns="179285" bIns="44821" numCol="1" rtlCol="0" anchor="ctr" anchorCtr="0" compatLnSpc="1">
              <a:prstTxWarp prst="textNoShape">
                <a:avLst/>
              </a:prstTxWarp>
            </a:bodyPr>
            <a:lstStyle/>
            <a:p>
              <a:pPr algn="ctr" defTabSz="896386" eaLnBrk="0" fontAlgn="base" hangingPunct="0">
                <a:spcBef>
                  <a:spcPct val="0"/>
                </a:spcBef>
                <a:spcAft>
                  <a:spcPct val="0"/>
                </a:spcAft>
                <a:defRPr/>
              </a:pPr>
              <a:endParaRPr lang="en-US" sz="1765" b="1" kern="0" dirty="0">
                <a:solidFill>
                  <a:srgbClr val="000000"/>
                </a:solidFill>
                <a:latin typeface="Verdana" pitchFamily="34" charset="0"/>
                <a:cs typeface="Arial" charset="0"/>
              </a:endParaRPr>
            </a:p>
          </p:txBody>
        </p:sp>
        <p:sp>
          <p:nvSpPr>
            <p:cNvPr id="31" name="TextBox 30">
              <a:extLst>
                <a:ext uri="{FF2B5EF4-FFF2-40B4-BE49-F238E27FC236}">
                  <a16:creationId xmlns:a16="http://schemas.microsoft.com/office/drawing/2014/main" id="{A3948E0C-EFC5-4858-B2EA-B1262B11A979}"/>
                </a:ext>
              </a:extLst>
            </p:cNvPr>
            <p:cNvSpPr txBox="1"/>
            <p:nvPr/>
          </p:nvSpPr>
          <p:spPr>
            <a:xfrm>
              <a:off x="666867" y="1825676"/>
              <a:ext cx="709746"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Start</a:t>
              </a:r>
              <a:endParaRPr lang="en-US" sz="1765" b="1" kern="0" dirty="0">
                <a:solidFill>
                  <a:srgbClr val="000000"/>
                </a:solidFill>
                <a:latin typeface="Segoe UI"/>
                <a:cs typeface="Segoe UI" panose="020B0502040204020203" pitchFamily="34" charset="0"/>
              </a:endParaRPr>
            </a:p>
          </p:txBody>
        </p:sp>
        <p:sp>
          <p:nvSpPr>
            <p:cNvPr id="32" name="TextBox 31">
              <a:extLst>
                <a:ext uri="{FF2B5EF4-FFF2-40B4-BE49-F238E27FC236}">
                  <a16:creationId xmlns:a16="http://schemas.microsoft.com/office/drawing/2014/main" id="{13F72CFA-987B-4497-962B-BFD4C1E977E3}"/>
                </a:ext>
              </a:extLst>
            </p:cNvPr>
            <p:cNvSpPr txBox="1"/>
            <p:nvPr/>
          </p:nvSpPr>
          <p:spPr>
            <a:xfrm>
              <a:off x="10800547" y="3901395"/>
              <a:ext cx="590226"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End</a:t>
              </a:r>
              <a:endParaRPr lang="en-US" sz="1765" b="1" kern="0" dirty="0">
                <a:solidFill>
                  <a:srgbClr val="000000"/>
                </a:solidFill>
                <a:latin typeface="Segoe UI"/>
                <a:cs typeface="Segoe UI" panose="020B0502040204020203" pitchFamily="34" charset="0"/>
              </a:endParaRPr>
            </a:p>
          </p:txBody>
        </p:sp>
        <p:cxnSp>
          <p:nvCxnSpPr>
            <p:cNvPr id="33" name="Straight Arrow Connector 32" descr="An unlablled arrow linking the Start of the process to the Runnable list box." title="starting">
              <a:extLst>
                <a:ext uri="{FF2B5EF4-FFF2-40B4-BE49-F238E27FC236}">
                  <a16:creationId xmlns:a16="http://schemas.microsoft.com/office/drawing/2014/main" id="{265A2689-E6C6-4A7C-BC2E-81F9D293441A}"/>
                </a:ext>
              </a:extLst>
            </p:cNvPr>
            <p:cNvCxnSpPr>
              <a:cxnSpLocks/>
            </p:cNvCxnSpPr>
            <p:nvPr/>
          </p:nvCxnSpPr>
          <p:spPr bwMode="auto">
            <a:xfrm>
              <a:off x="1529947" y="1459747"/>
              <a:ext cx="793062" cy="0"/>
            </a:xfrm>
            <a:prstGeom prst="straightConnector1">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4" name="Straight Arrow Connector 33" descr="An arrow from the CPU box to the End of the process labelled &quot;Complete&quot;." title="Complete">
              <a:extLst>
                <a:ext uri="{FF2B5EF4-FFF2-40B4-BE49-F238E27FC236}">
                  <a16:creationId xmlns:a16="http://schemas.microsoft.com/office/drawing/2014/main" id="{5BF75EF2-BFBC-47AF-82A5-678AB053EC43}"/>
                </a:ext>
              </a:extLst>
            </p:cNvPr>
            <p:cNvCxnSpPr/>
            <p:nvPr/>
          </p:nvCxnSpPr>
          <p:spPr bwMode="auto">
            <a:xfrm>
              <a:off x="9060465" y="3522670"/>
              <a:ext cx="1440248" cy="0"/>
            </a:xfrm>
            <a:prstGeom prst="straightConnector1">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5" name="Straight Arrow Connector 34" descr="An arrow from the CPU box to the Waiter List box, labelled &quot;Resource blocked&quot;." title="Resource blocked">
              <a:extLst>
                <a:ext uri="{FF2B5EF4-FFF2-40B4-BE49-F238E27FC236}">
                  <a16:creationId xmlns:a16="http://schemas.microsoft.com/office/drawing/2014/main" id="{B5AB4B11-30FB-424B-9708-C94A63D2F5A6}"/>
                </a:ext>
              </a:extLst>
            </p:cNvPr>
            <p:cNvCxnSpPr>
              <a:cxnSpLocks/>
            </p:cNvCxnSpPr>
            <p:nvPr/>
          </p:nvCxnSpPr>
          <p:spPr bwMode="auto">
            <a:xfrm>
              <a:off x="7451257" y="4177927"/>
              <a:ext cx="0" cy="673008"/>
            </a:xfrm>
            <a:prstGeom prst="straightConnector1">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6" name="Elbow Connector 15" descr="An arrow from the Waiter List box to the Runnable List box, labelled &quot;Resource available&quot;." title="Resource available">
              <a:extLst>
                <a:ext uri="{FF2B5EF4-FFF2-40B4-BE49-F238E27FC236}">
                  <a16:creationId xmlns:a16="http://schemas.microsoft.com/office/drawing/2014/main" id="{10058B89-DF3A-45DE-B40A-9AAC923BEC68}"/>
                </a:ext>
              </a:extLst>
            </p:cNvPr>
            <p:cNvCxnSpPr/>
            <p:nvPr/>
          </p:nvCxnSpPr>
          <p:spPr bwMode="auto">
            <a:xfrm rot="10800000">
              <a:off x="3088301" y="2206325"/>
              <a:ext cx="2728617" cy="3225459"/>
            </a:xfrm>
            <a:prstGeom prst="bentConnector2">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7" name="Elbow Connector 16" descr="An arrow from the Runnable List box to the CPU box, labelled &quot;CPU available&quot;." title="CPU available">
              <a:extLst>
                <a:ext uri="{FF2B5EF4-FFF2-40B4-BE49-F238E27FC236}">
                  <a16:creationId xmlns:a16="http://schemas.microsoft.com/office/drawing/2014/main" id="{5994C78D-99CE-4354-90F1-D9C1A6AE94A5}"/>
                </a:ext>
              </a:extLst>
            </p:cNvPr>
            <p:cNvCxnSpPr>
              <a:cxnSpLocks/>
            </p:cNvCxnSpPr>
            <p:nvPr/>
          </p:nvCxnSpPr>
          <p:spPr bwMode="auto">
            <a:xfrm>
              <a:off x="5391146" y="1532726"/>
              <a:ext cx="2019966" cy="1236043"/>
            </a:xfrm>
            <a:prstGeom prst="bentConnector2">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8" name="Elbow Connector 17" descr="An arrow from the CPU box to the Runnable list box, labelled &quot;Quantum exhausted&quot;" title="Quantum exhausted">
              <a:extLst>
                <a:ext uri="{FF2B5EF4-FFF2-40B4-BE49-F238E27FC236}">
                  <a16:creationId xmlns:a16="http://schemas.microsoft.com/office/drawing/2014/main" id="{C0D4D7AC-042B-4B08-B45F-994D70570045}"/>
                </a:ext>
              </a:extLst>
            </p:cNvPr>
            <p:cNvCxnSpPr/>
            <p:nvPr/>
          </p:nvCxnSpPr>
          <p:spPr bwMode="auto">
            <a:xfrm rot="10800000">
              <a:off x="3782017" y="2291086"/>
              <a:ext cx="2019965" cy="1236043"/>
            </a:xfrm>
            <a:prstGeom prst="bentConnector2">
              <a:avLst/>
            </a:prstGeom>
            <a:noFill/>
            <a:ln w="76200" cap="flat" cmpd="sng" algn="ctr">
              <a:solidFill>
                <a:sysClr val="windowText" lastClr="000000">
                  <a:shade val="95000"/>
                  <a:satMod val="105000"/>
                </a:sysClr>
              </a:solidFill>
              <a:prstDash val="solid"/>
              <a:headEnd type="none" w="med" len="med"/>
              <a:tailEnd type="triangle"/>
            </a:ln>
            <a:effectLst/>
          </p:spPr>
        </p:cxnSp>
        <p:sp>
          <p:nvSpPr>
            <p:cNvPr id="39" name="TextBox 38">
              <a:extLst>
                <a:ext uri="{FF2B5EF4-FFF2-40B4-BE49-F238E27FC236}">
                  <a16:creationId xmlns:a16="http://schemas.microsoft.com/office/drawing/2014/main" id="{B68F64D0-F889-4043-8063-C24CF5C5694F}"/>
                </a:ext>
              </a:extLst>
            </p:cNvPr>
            <p:cNvSpPr txBox="1"/>
            <p:nvPr/>
          </p:nvSpPr>
          <p:spPr>
            <a:xfrm>
              <a:off x="5620787" y="1111019"/>
              <a:ext cx="1657570"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CPU available</a:t>
              </a:r>
              <a:endParaRPr lang="en-US" sz="1765" b="1" kern="0" dirty="0">
                <a:solidFill>
                  <a:srgbClr val="000000"/>
                </a:solidFill>
                <a:latin typeface="Segoe UI"/>
                <a:cs typeface="Segoe UI" panose="020B0502040204020203" pitchFamily="34" charset="0"/>
              </a:endParaRPr>
            </a:p>
          </p:txBody>
        </p:sp>
        <p:sp>
          <p:nvSpPr>
            <p:cNvPr id="40" name="TextBox 39">
              <a:extLst>
                <a:ext uri="{FF2B5EF4-FFF2-40B4-BE49-F238E27FC236}">
                  <a16:creationId xmlns:a16="http://schemas.microsoft.com/office/drawing/2014/main" id="{5190F655-9D5F-483B-B53B-9B10C3E6BFCE}"/>
                </a:ext>
              </a:extLst>
            </p:cNvPr>
            <p:cNvSpPr txBox="1"/>
            <p:nvPr/>
          </p:nvSpPr>
          <p:spPr>
            <a:xfrm>
              <a:off x="3522233" y="3637843"/>
              <a:ext cx="2379882"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Quantum exhausted</a:t>
              </a:r>
              <a:endParaRPr lang="en-US" sz="1765" b="1" kern="0" dirty="0">
                <a:solidFill>
                  <a:srgbClr val="000000"/>
                </a:solidFill>
                <a:latin typeface="Segoe UI"/>
                <a:cs typeface="Segoe UI" panose="020B0502040204020203" pitchFamily="34" charset="0"/>
              </a:endParaRPr>
            </a:p>
          </p:txBody>
        </p:sp>
        <p:sp>
          <p:nvSpPr>
            <p:cNvPr id="41" name="TextBox 40">
              <a:extLst>
                <a:ext uri="{FF2B5EF4-FFF2-40B4-BE49-F238E27FC236}">
                  <a16:creationId xmlns:a16="http://schemas.microsoft.com/office/drawing/2014/main" id="{CFB2DE08-CF9E-4E4F-ACC9-DB2AF7058FA1}"/>
                </a:ext>
              </a:extLst>
            </p:cNvPr>
            <p:cNvSpPr txBox="1"/>
            <p:nvPr/>
          </p:nvSpPr>
          <p:spPr>
            <a:xfrm>
              <a:off x="3502513" y="5535627"/>
              <a:ext cx="2183098"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Resource available</a:t>
              </a:r>
              <a:endParaRPr lang="en-US" sz="1765" b="1" kern="0" dirty="0">
                <a:solidFill>
                  <a:srgbClr val="000000"/>
                </a:solidFill>
                <a:latin typeface="Segoe UI"/>
                <a:cs typeface="Segoe UI" panose="020B0502040204020203" pitchFamily="34" charset="0"/>
              </a:endParaRPr>
            </a:p>
          </p:txBody>
        </p:sp>
        <p:sp>
          <p:nvSpPr>
            <p:cNvPr id="42" name="TextBox 41">
              <a:extLst>
                <a:ext uri="{FF2B5EF4-FFF2-40B4-BE49-F238E27FC236}">
                  <a16:creationId xmlns:a16="http://schemas.microsoft.com/office/drawing/2014/main" id="{B5A36C20-7A63-41A9-8930-088E1DB6A996}"/>
                </a:ext>
              </a:extLst>
            </p:cNvPr>
            <p:cNvSpPr txBox="1"/>
            <p:nvPr/>
          </p:nvSpPr>
          <p:spPr>
            <a:xfrm>
              <a:off x="7614123" y="4297327"/>
              <a:ext cx="2080698"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Resource blocked</a:t>
              </a:r>
              <a:endParaRPr lang="en-US" sz="1765" b="1" kern="0" dirty="0">
                <a:solidFill>
                  <a:srgbClr val="000000"/>
                </a:solidFill>
                <a:latin typeface="Segoe UI"/>
                <a:cs typeface="Segoe UI" panose="020B0502040204020203" pitchFamily="34" charset="0"/>
              </a:endParaRPr>
            </a:p>
          </p:txBody>
        </p:sp>
        <p:sp>
          <p:nvSpPr>
            <p:cNvPr id="43" name="TextBox 42">
              <a:extLst>
                <a:ext uri="{FF2B5EF4-FFF2-40B4-BE49-F238E27FC236}">
                  <a16:creationId xmlns:a16="http://schemas.microsoft.com/office/drawing/2014/main" id="{156DC059-0289-42DF-9AF6-F67C90CAEE79}"/>
                </a:ext>
              </a:extLst>
            </p:cNvPr>
            <p:cNvSpPr txBox="1"/>
            <p:nvPr/>
          </p:nvSpPr>
          <p:spPr>
            <a:xfrm>
              <a:off x="9176993" y="3051137"/>
              <a:ext cx="1228926"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Complete</a:t>
              </a:r>
              <a:endParaRPr lang="en-US" sz="1765" b="1" kern="0" dirty="0">
                <a:solidFill>
                  <a:srgbClr val="000000"/>
                </a:solidFill>
                <a:latin typeface="Segoe UI"/>
                <a:cs typeface="Segoe UI" panose="020B0502040204020203" pitchFamily="34" charset="0"/>
              </a:endParaRPr>
            </a:p>
          </p:txBody>
        </p:sp>
        <p:sp>
          <p:nvSpPr>
            <p:cNvPr id="44" name="Rectangle: Rounded Corners 43">
              <a:extLst>
                <a:ext uri="{FF2B5EF4-FFF2-40B4-BE49-F238E27FC236}">
                  <a16:creationId xmlns:a16="http://schemas.microsoft.com/office/drawing/2014/main" id="{4A152612-7ECF-4DD4-95E8-395185F051E6}"/>
                </a:ext>
              </a:extLst>
            </p:cNvPr>
            <p:cNvSpPr/>
            <p:nvPr/>
          </p:nvSpPr>
          <p:spPr>
            <a:xfrm>
              <a:off x="2416375" y="907088"/>
              <a:ext cx="2765502" cy="1251276"/>
            </a:xfrm>
            <a:prstGeom prst="roundRect">
              <a:avLst/>
            </a:prstGeom>
            <a:solidFill>
              <a:schemeClr val="bg1"/>
            </a:solidFill>
            <a:ln w="57150" cap="flat" cmpd="sng" algn="ctr">
              <a:solidFill>
                <a:srgbClr val="2098D5">
                  <a:lumMod val="50000"/>
                </a:srgbClr>
              </a:solidFill>
              <a:prstDash val="solid"/>
            </a:ln>
            <a:effectLst/>
          </p:spPr>
          <p:txBody>
            <a:bodyPr rtlCol="0" anchor="ctr"/>
            <a:lstStyle/>
            <a:p>
              <a:pPr defTabSz="896386" fontAlgn="base">
                <a:spcBef>
                  <a:spcPct val="0"/>
                </a:spcBef>
                <a:spcAft>
                  <a:spcPct val="0"/>
                </a:spcAft>
                <a:defRPr/>
              </a:pPr>
              <a:r>
                <a:rPr lang="en-GB" sz="2353" kern="0" dirty="0">
                  <a:solidFill>
                    <a:srgbClr val="505050"/>
                  </a:solidFill>
                  <a:latin typeface="Segoe UI"/>
                  <a:cs typeface="Segoe UI" panose="020B0502040204020203" pitchFamily="34" charset="0"/>
                </a:rPr>
                <a:t>Runnable List</a:t>
              </a:r>
            </a:p>
            <a:p>
              <a:pPr defTabSz="896386" fontAlgn="base">
                <a:spcBef>
                  <a:spcPct val="0"/>
                </a:spcBef>
                <a:spcAft>
                  <a:spcPct val="0"/>
                </a:spcAft>
                <a:defRPr/>
              </a:pPr>
              <a:endParaRPr lang="en-GB" sz="2353" kern="0" dirty="0">
                <a:solidFill>
                  <a:srgbClr val="505050"/>
                </a:solidFill>
                <a:latin typeface="Segoe UI"/>
                <a:cs typeface="Segoe UI" panose="020B0502040204020203" pitchFamily="34" charset="0"/>
              </a:endParaRPr>
            </a:p>
            <a:p>
              <a:pPr defTabSz="896386" fontAlgn="base">
                <a:spcBef>
                  <a:spcPct val="0"/>
                </a:spcBef>
                <a:spcAft>
                  <a:spcPct val="0"/>
                </a:spcAft>
                <a:defRPr/>
              </a:pPr>
              <a:r>
                <a:rPr lang="en-GB" sz="2353" kern="0" dirty="0">
                  <a:solidFill>
                    <a:srgbClr val="505050"/>
                  </a:solidFill>
                  <a:latin typeface="Segoe UI"/>
                  <a:cs typeface="Segoe UI" panose="020B0502040204020203" pitchFamily="34" charset="0"/>
                </a:rPr>
                <a:t>Status: </a:t>
              </a:r>
              <a:r>
                <a:rPr lang="en-GB" sz="2353" b="1" kern="0" dirty="0">
                  <a:solidFill>
                    <a:srgbClr val="505050"/>
                  </a:solidFill>
                  <a:latin typeface="Segoe UI"/>
                  <a:cs typeface="Segoe UI" panose="020B0502040204020203" pitchFamily="34" charset="0"/>
                </a:rPr>
                <a:t>runnable</a:t>
              </a:r>
              <a:endParaRPr lang="en-US" sz="2353" b="1" kern="0" dirty="0">
                <a:solidFill>
                  <a:srgbClr val="505050"/>
                </a:solidFill>
                <a:latin typeface="Segoe UI"/>
                <a:cs typeface="Segoe UI" panose="020B0502040204020203" pitchFamily="34" charset="0"/>
              </a:endParaRPr>
            </a:p>
          </p:txBody>
        </p:sp>
        <p:sp>
          <p:nvSpPr>
            <p:cNvPr id="45" name="Rectangle: Rounded Corners 44">
              <a:extLst>
                <a:ext uri="{FF2B5EF4-FFF2-40B4-BE49-F238E27FC236}">
                  <a16:creationId xmlns:a16="http://schemas.microsoft.com/office/drawing/2014/main" id="{75E2F568-F439-40E0-A59A-AE4D016C2F8E}"/>
                </a:ext>
              </a:extLst>
            </p:cNvPr>
            <p:cNvSpPr/>
            <p:nvPr/>
          </p:nvSpPr>
          <p:spPr>
            <a:xfrm>
              <a:off x="6028360" y="2849000"/>
              <a:ext cx="2765502" cy="1251276"/>
            </a:xfrm>
            <a:prstGeom prst="roundRect">
              <a:avLst/>
            </a:prstGeom>
            <a:solidFill>
              <a:schemeClr val="bg1"/>
            </a:solidFill>
            <a:ln w="57150" cap="flat" cmpd="sng" algn="ctr">
              <a:solidFill>
                <a:srgbClr val="2098D5">
                  <a:lumMod val="50000"/>
                </a:srgbClr>
              </a:solidFill>
              <a:prstDash val="solid"/>
            </a:ln>
            <a:effectLst/>
          </p:spPr>
          <p:txBody>
            <a:bodyPr rtlCol="0" anchor="ctr"/>
            <a:lstStyle/>
            <a:p>
              <a:pPr defTabSz="896386" fontAlgn="base">
                <a:spcBef>
                  <a:spcPct val="0"/>
                </a:spcBef>
                <a:spcAft>
                  <a:spcPct val="0"/>
                </a:spcAft>
                <a:defRPr/>
              </a:pPr>
              <a:r>
                <a:rPr lang="en-GB" sz="2353" kern="0" dirty="0">
                  <a:solidFill>
                    <a:srgbClr val="505050"/>
                  </a:solidFill>
                  <a:latin typeface="Segoe UI"/>
                  <a:cs typeface="Segoe UI" panose="020B0502040204020203" pitchFamily="34" charset="0"/>
                </a:rPr>
                <a:t>CPU</a:t>
              </a:r>
            </a:p>
            <a:p>
              <a:pPr defTabSz="896386" fontAlgn="base">
                <a:spcBef>
                  <a:spcPct val="0"/>
                </a:spcBef>
                <a:spcAft>
                  <a:spcPct val="0"/>
                </a:spcAft>
                <a:defRPr/>
              </a:pPr>
              <a:endParaRPr lang="en-GB" sz="2353" kern="0" dirty="0">
                <a:solidFill>
                  <a:srgbClr val="505050"/>
                </a:solidFill>
                <a:latin typeface="Segoe UI"/>
                <a:cs typeface="Segoe UI" panose="020B0502040204020203" pitchFamily="34" charset="0"/>
              </a:endParaRPr>
            </a:p>
            <a:p>
              <a:pPr defTabSz="896386" fontAlgn="base">
                <a:spcBef>
                  <a:spcPct val="0"/>
                </a:spcBef>
                <a:spcAft>
                  <a:spcPct val="0"/>
                </a:spcAft>
                <a:defRPr/>
              </a:pPr>
              <a:r>
                <a:rPr lang="en-GB" sz="2353" kern="0" dirty="0">
                  <a:solidFill>
                    <a:srgbClr val="505050"/>
                  </a:solidFill>
                  <a:latin typeface="Segoe UI"/>
                  <a:cs typeface="Segoe UI" panose="020B0502040204020203" pitchFamily="34" charset="0"/>
                </a:rPr>
                <a:t>Status: </a:t>
              </a:r>
              <a:r>
                <a:rPr lang="en-GB" sz="2353" b="1" kern="0" dirty="0">
                  <a:solidFill>
                    <a:srgbClr val="505050"/>
                  </a:solidFill>
                  <a:latin typeface="Segoe UI"/>
                  <a:cs typeface="Segoe UI" panose="020B0502040204020203" pitchFamily="34" charset="0"/>
                </a:rPr>
                <a:t>running</a:t>
              </a:r>
              <a:endParaRPr lang="en-US" sz="2353" b="1" kern="0" dirty="0">
                <a:solidFill>
                  <a:srgbClr val="505050"/>
                </a:solidFill>
                <a:latin typeface="Segoe UI"/>
                <a:cs typeface="Segoe UI" panose="020B0502040204020203" pitchFamily="34" charset="0"/>
              </a:endParaRPr>
            </a:p>
          </p:txBody>
        </p:sp>
        <p:sp>
          <p:nvSpPr>
            <p:cNvPr id="46" name="Rectangle: Rounded Corners 45">
              <a:extLst>
                <a:ext uri="{FF2B5EF4-FFF2-40B4-BE49-F238E27FC236}">
                  <a16:creationId xmlns:a16="http://schemas.microsoft.com/office/drawing/2014/main" id="{9D847284-253B-45B2-AD82-2AB9BCF87087}"/>
                </a:ext>
              </a:extLst>
            </p:cNvPr>
            <p:cNvSpPr/>
            <p:nvPr/>
          </p:nvSpPr>
          <p:spPr>
            <a:xfrm>
              <a:off x="5988606" y="4953526"/>
              <a:ext cx="2845011" cy="1290038"/>
            </a:xfrm>
            <a:prstGeom prst="roundRect">
              <a:avLst/>
            </a:prstGeom>
            <a:solidFill>
              <a:schemeClr val="bg1"/>
            </a:solidFill>
            <a:ln w="57150" cap="flat" cmpd="sng" algn="ctr">
              <a:solidFill>
                <a:srgbClr val="2098D5">
                  <a:lumMod val="50000"/>
                </a:srgbClr>
              </a:solidFill>
              <a:prstDash val="solid"/>
            </a:ln>
            <a:effectLst/>
          </p:spPr>
          <p:txBody>
            <a:bodyPr rtlCol="0" anchor="ctr"/>
            <a:lstStyle/>
            <a:p>
              <a:pPr defTabSz="896386" fontAlgn="base">
                <a:spcBef>
                  <a:spcPct val="0"/>
                </a:spcBef>
                <a:spcAft>
                  <a:spcPct val="0"/>
                </a:spcAft>
                <a:defRPr/>
              </a:pPr>
              <a:r>
                <a:rPr lang="en-GB" sz="2353" kern="0" dirty="0">
                  <a:solidFill>
                    <a:srgbClr val="505050"/>
                  </a:solidFill>
                  <a:latin typeface="Segoe UI"/>
                  <a:cs typeface="Segoe UI" panose="020B0502040204020203" pitchFamily="34" charset="0"/>
                </a:rPr>
                <a:t>Waiter List</a:t>
              </a:r>
            </a:p>
            <a:p>
              <a:pPr defTabSz="896386" fontAlgn="base">
                <a:spcBef>
                  <a:spcPct val="0"/>
                </a:spcBef>
                <a:spcAft>
                  <a:spcPct val="0"/>
                </a:spcAft>
                <a:defRPr/>
              </a:pPr>
              <a:endParaRPr lang="en-GB" sz="2353" kern="0" dirty="0">
                <a:solidFill>
                  <a:srgbClr val="505050"/>
                </a:solidFill>
                <a:latin typeface="Segoe UI"/>
                <a:cs typeface="Segoe UI" panose="020B0502040204020203" pitchFamily="34" charset="0"/>
              </a:endParaRPr>
            </a:p>
            <a:p>
              <a:pPr defTabSz="896386" fontAlgn="base">
                <a:spcBef>
                  <a:spcPct val="0"/>
                </a:spcBef>
                <a:spcAft>
                  <a:spcPct val="0"/>
                </a:spcAft>
                <a:defRPr/>
              </a:pPr>
              <a:r>
                <a:rPr lang="en-GB" sz="2353" kern="0" dirty="0">
                  <a:solidFill>
                    <a:srgbClr val="505050"/>
                  </a:solidFill>
                  <a:latin typeface="Segoe UI"/>
                  <a:cs typeface="Segoe UI" panose="020B0502040204020203" pitchFamily="34" charset="0"/>
                </a:rPr>
                <a:t>Status: </a:t>
              </a:r>
              <a:r>
                <a:rPr lang="en-GB" sz="2353" b="1" kern="0" dirty="0">
                  <a:solidFill>
                    <a:srgbClr val="505050"/>
                  </a:solidFill>
                  <a:latin typeface="Segoe UI"/>
                  <a:cs typeface="Segoe UI" panose="020B0502040204020203" pitchFamily="34" charset="0"/>
                </a:rPr>
                <a:t>suspended</a:t>
              </a:r>
              <a:endParaRPr lang="en-US" sz="2353" b="1" kern="0" dirty="0">
                <a:solidFill>
                  <a:srgbClr val="505050"/>
                </a:solidFill>
                <a:latin typeface="Segoe UI"/>
                <a:cs typeface="Segoe UI" panose="020B0502040204020203" pitchFamily="34" charset="0"/>
              </a:endParaRPr>
            </a:p>
          </p:txBody>
        </p:sp>
      </p:grpSp>
    </p:spTree>
    <p:custDataLst>
      <p:tags r:id="rId1"/>
    </p:custDataLst>
    <p:extLst>
      <p:ext uri="{BB962C8B-B14F-4D97-AF65-F5344CB8AC3E}">
        <p14:creationId xmlns:p14="http://schemas.microsoft.com/office/powerpoint/2010/main" val="5193785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ask Execution Model</a:t>
            </a:r>
          </a:p>
        </p:txBody>
      </p:sp>
      <p:sp>
        <p:nvSpPr>
          <p:cNvPr id="73" name="Slide Number Placeholder 3"/>
          <p:cNvSpPr txBox="1">
            <a:spLocks/>
          </p:cNvSpPr>
          <p:nvPr/>
        </p:nvSpPr>
        <p:spPr>
          <a:xfrm>
            <a:off x="9708409" y="5295157"/>
            <a:ext cx="2788481" cy="357896"/>
          </a:xfrm>
          <a:prstGeom prst="rect">
            <a:avLst/>
          </a:prstGeom>
        </p:spPr>
        <p:txBody>
          <a:bodyPr vert="horz" lIns="179259" tIns="44814" rIns="179259" bIns="44814" rtlCol="0" anchor="ctr"/>
          <a:lstStyle>
            <a:defPPr>
              <a:defRPr lang="en-US"/>
            </a:defPPr>
            <a:lvl1pPr marL="0" algn="r" defTabSz="457200" rtl="0" eaLnBrk="1" latinLnBrk="0" hangingPunct="1">
              <a:defRPr sz="800" kern="1200">
                <a:solidFill>
                  <a:srgbClr val="3F3F3F"/>
                </a:solidFill>
                <a:latin typeface="Segoe UI Light" panose="020B0502040204020203" pitchFamily="34" charset="0"/>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48107">
              <a:defRPr/>
            </a:pPr>
            <a:fld id="{74A398B2-5A34-1A4A-811E-F4027282568C}" type="slidenum">
              <a:rPr lang="en-US" sz="784"/>
              <a:pPr defTabSz="448107">
                <a:defRPr/>
              </a:pPr>
              <a:t>23</a:t>
            </a:fld>
            <a:endParaRPr lang="en-US" sz="784"/>
          </a:p>
        </p:txBody>
      </p:sp>
      <p:grpSp>
        <p:nvGrpSpPr>
          <p:cNvPr id="74" name="Group 59"/>
          <p:cNvGrpSpPr/>
          <p:nvPr/>
        </p:nvGrpSpPr>
        <p:grpSpPr>
          <a:xfrm>
            <a:off x="8116135" y="3539643"/>
            <a:ext cx="3511398" cy="373457"/>
            <a:chOff x="4648200" y="3408803"/>
            <a:chExt cx="3133741" cy="381000"/>
          </a:xfrm>
        </p:grpSpPr>
        <p:sp>
          <p:nvSpPr>
            <p:cNvPr id="75" name="Rectangle 74"/>
            <p:cNvSpPr/>
            <p:nvPr/>
          </p:nvSpPr>
          <p:spPr>
            <a:xfrm>
              <a:off x="4648200" y="3408803"/>
              <a:ext cx="1388128"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endParaRPr lang="en-US" sz="1765" kern="0">
                <a:solidFill>
                  <a:prstClr val="black"/>
                </a:solidFill>
                <a:latin typeface="Segoe UI Light" panose="020B0502040204020203" pitchFamily="34" charset="0"/>
                <a:cs typeface="Segoe UI Light" panose="020B0502040204020203" pitchFamily="34" charset="0"/>
              </a:endParaRPr>
            </a:p>
          </p:txBody>
        </p:sp>
        <p:sp>
          <p:nvSpPr>
            <p:cNvPr id="76" name="Rectangle 75"/>
            <p:cNvSpPr/>
            <p:nvPr/>
          </p:nvSpPr>
          <p:spPr>
            <a:xfrm>
              <a:off x="6036328" y="3408803"/>
              <a:ext cx="1745613"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endParaRPr lang="en-US" sz="1765" kern="0">
                <a:solidFill>
                  <a:prstClr val="black"/>
                </a:solidFill>
                <a:latin typeface="Segoe UI Light" panose="020B0502040204020203" pitchFamily="34" charset="0"/>
                <a:cs typeface="Segoe UI Light" panose="020B0502040204020203" pitchFamily="34" charset="0"/>
              </a:endParaRPr>
            </a:p>
          </p:txBody>
        </p:sp>
      </p:grpSp>
      <p:grpSp>
        <p:nvGrpSpPr>
          <p:cNvPr id="77" name="Group 58"/>
          <p:cNvGrpSpPr/>
          <p:nvPr/>
        </p:nvGrpSpPr>
        <p:grpSpPr>
          <a:xfrm>
            <a:off x="8116133" y="3552353"/>
            <a:ext cx="3511399" cy="373457"/>
            <a:chOff x="8088630" y="3408803"/>
            <a:chExt cx="3133742" cy="381000"/>
          </a:xfrm>
        </p:grpSpPr>
        <p:sp>
          <p:nvSpPr>
            <p:cNvPr id="78" name="Rectangle 77"/>
            <p:cNvSpPr/>
            <p:nvPr/>
          </p:nvSpPr>
          <p:spPr>
            <a:xfrm>
              <a:off x="8088630" y="3408803"/>
              <a:ext cx="1388128"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0000"/>
                  </a:solidFill>
                  <a:latin typeface="Segoe UI Light" panose="020B0502040204020203" pitchFamily="34" charset="0"/>
                  <a:cs typeface="Segoe UI Light" panose="020B0502040204020203" pitchFamily="34" charset="0"/>
                </a:rPr>
                <a:t>session_id 60</a:t>
              </a:r>
            </a:p>
          </p:txBody>
        </p:sp>
        <p:sp>
          <p:nvSpPr>
            <p:cNvPr id="79" name="Rectangle 78"/>
            <p:cNvSpPr/>
            <p:nvPr/>
          </p:nvSpPr>
          <p:spPr>
            <a:xfrm>
              <a:off x="9476758" y="3408803"/>
              <a:ext cx="1745614"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0000"/>
                  </a:solidFill>
                  <a:latin typeface="Segoe UI Light" panose="020B0502040204020203" pitchFamily="34" charset="0"/>
                  <a:cs typeface="Segoe UI Light" panose="020B0502040204020203" pitchFamily="34" charset="0"/>
                </a:rPr>
                <a:t>IO_Completion</a:t>
              </a:r>
            </a:p>
          </p:txBody>
        </p:sp>
      </p:grpSp>
      <p:sp>
        <p:nvSpPr>
          <p:cNvPr id="80" name="Rectangle 95"/>
          <p:cNvSpPr>
            <a:spLocks noChangeArrowheads="1"/>
          </p:cNvSpPr>
          <p:nvPr/>
        </p:nvSpPr>
        <p:spPr bwMode="auto">
          <a:xfrm>
            <a:off x="4382461" y="1094621"/>
            <a:ext cx="3510500" cy="369279"/>
          </a:xfrm>
          <a:prstGeom prst="rect">
            <a:avLst/>
          </a:prstGeom>
          <a:noFill/>
          <a:ln w="9525" algn="ctr">
            <a:noFill/>
            <a:miter lim="800000"/>
            <a:headEnd/>
            <a:tailEnd/>
          </a:ln>
        </p:spPr>
        <p:txBody>
          <a:bodyPr wrap="square">
            <a:spAutoFit/>
          </a:bodyPr>
          <a:lstStyle/>
          <a:p>
            <a:pPr marL="273844" indent="-273844" algn="ctr" defTabSz="896214" eaLnBrk="0" hangingPunct="0">
              <a:buClr>
                <a:srgbClr val="D60093"/>
              </a:buClr>
              <a:buSzPct val="70000"/>
              <a:defRPr/>
            </a:pPr>
            <a:r>
              <a:rPr lang="en-US" sz="1765" kern="0">
                <a:solidFill>
                  <a:prstClr val="black"/>
                </a:solidFill>
                <a:latin typeface="Segoe UI Light" panose="020B0502040204020203" pitchFamily="34" charset="0"/>
                <a:cs typeface="Segoe UI Light" panose="020B0502040204020203" pitchFamily="34" charset="0"/>
              </a:rPr>
              <a:t>Status: Running</a:t>
            </a:r>
          </a:p>
        </p:txBody>
      </p:sp>
      <p:sp>
        <p:nvSpPr>
          <p:cNvPr id="81" name="Rectangle 166"/>
          <p:cNvSpPr>
            <a:spLocks noChangeArrowheads="1"/>
          </p:cNvSpPr>
          <p:nvPr/>
        </p:nvSpPr>
        <p:spPr bwMode="auto">
          <a:xfrm>
            <a:off x="4382461" y="2925905"/>
            <a:ext cx="3510500" cy="646240"/>
          </a:xfrm>
          <a:prstGeom prst="rect">
            <a:avLst/>
          </a:prstGeom>
          <a:noFill/>
          <a:ln w="9525">
            <a:noFill/>
            <a:miter lim="800000"/>
            <a:headEnd/>
            <a:tailEnd/>
          </a:ln>
        </p:spPr>
        <p:txBody>
          <a:bodyPr wrap="square">
            <a:spAutoFit/>
          </a:bodyPr>
          <a:lstStyle/>
          <a:p>
            <a:pPr marL="273844" indent="-273844" algn="ctr" defTabSz="896214" eaLnBrk="0" hangingPunct="0">
              <a:buClr>
                <a:srgbClr val="D60093"/>
              </a:buClr>
              <a:buSzPct val="70000"/>
              <a:defRPr/>
            </a:pPr>
            <a:r>
              <a:rPr lang="en-US" sz="1765" kern="0">
                <a:solidFill>
                  <a:prstClr val="black"/>
                </a:solidFill>
                <a:latin typeface="Segoe UI Light" panose="020B0502040204020203" pitchFamily="34" charset="0"/>
                <a:cs typeface="Segoe UI Light" panose="020B0502040204020203" pitchFamily="34" charset="0"/>
              </a:rPr>
              <a:t>Runnable Queue (Signal Waits)</a:t>
            </a:r>
          </a:p>
          <a:p>
            <a:pPr marL="273844" indent="-273844" algn="ctr" defTabSz="896214" eaLnBrk="0" hangingPunct="0">
              <a:buClr>
                <a:srgbClr val="D60093"/>
              </a:buClr>
              <a:buSzPct val="70000"/>
              <a:defRPr/>
            </a:pPr>
            <a:r>
              <a:rPr lang="en-US" sz="1765" kern="0">
                <a:solidFill>
                  <a:prstClr val="black"/>
                </a:solidFill>
                <a:latin typeface="Segoe UI Light" panose="020B0502040204020203" pitchFamily="34" charset="0"/>
                <a:cs typeface="Segoe UI Light" panose="020B0502040204020203" pitchFamily="34" charset="0"/>
              </a:rPr>
              <a:t>Status: Runnable</a:t>
            </a:r>
          </a:p>
        </p:txBody>
      </p:sp>
      <p:sp>
        <p:nvSpPr>
          <p:cNvPr id="82" name="Rectangle 167"/>
          <p:cNvSpPr>
            <a:spLocks noChangeArrowheads="1"/>
          </p:cNvSpPr>
          <p:nvPr/>
        </p:nvSpPr>
        <p:spPr bwMode="auto">
          <a:xfrm>
            <a:off x="8116134" y="1432075"/>
            <a:ext cx="3511398" cy="646240"/>
          </a:xfrm>
          <a:prstGeom prst="rect">
            <a:avLst/>
          </a:prstGeom>
          <a:noFill/>
          <a:ln w="9525">
            <a:noFill/>
            <a:miter lim="800000"/>
            <a:headEnd/>
            <a:tailEnd/>
          </a:ln>
        </p:spPr>
        <p:txBody>
          <a:bodyPr wrap="square">
            <a:spAutoFit/>
          </a:bodyPr>
          <a:lstStyle/>
          <a:p>
            <a:pPr marL="273844" indent="-273844" algn="ctr" defTabSz="896214" eaLnBrk="0" hangingPunct="0">
              <a:buClr>
                <a:srgbClr val="D60093"/>
              </a:buClr>
              <a:buSzPct val="70000"/>
              <a:defRPr/>
            </a:pPr>
            <a:r>
              <a:rPr lang="en-US" sz="1765" kern="0">
                <a:solidFill>
                  <a:prstClr val="black"/>
                </a:solidFill>
                <a:latin typeface="Segoe UI Light" panose="020B0502040204020203" pitchFamily="34" charset="0"/>
                <a:cs typeface="Segoe UI Light" panose="020B0502040204020203" pitchFamily="34" charset="0"/>
              </a:rPr>
              <a:t>Wait Queue (Resource Waits)</a:t>
            </a:r>
          </a:p>
          <a:p>
            <a:pPr marL="273844" indent="-273844" algn="ctr" defTabSz="896214" eaLnBrk="0" hangingPunct="0">
              <a:buClr>
                <a:srgbClr val="D60093"/>
              </a:buClr>
              <a:buSzPct val="70000"/>
              <a:defRPr/>
            </a:pPr>
            <a:r>
              <a:rPr lang="en-US" sz="1765" kern="0">
                <a:solidFill>
                  <a:prstClr val="black"/>
                </a:solidFill>
                <a:latin typeface="Segoe UI Light" panose="020B0502040204020203" pitchFamily="34" charset="0"/>
                <a:cs typeface="Segoe UI Light" panose="020B0502040204020203" pitchFamily="34" charset="0"/>
              </a:rPr>
              <a:t>Status: Suspended</a:t>
            </a:r>
          </a:p>
        </p:txBody>
      </p:sp>
      <p:sp>
        <p:nvSpPr>
          <p:cNvPr id="83" name="Rectangle 82"/>
          <p:cNvSpPr/>
          <p:nvPr/>
        </p:nvSpPr>
        <p:spPr>
          <a:xfrm>
            <a:off x="8116135" y="2065610"/>
            <a:ext cx="1555415" cy="373457"/>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73</a:t>
            </a:r>
          </a:p>
        </p:txBody>
      </p:sp>
      <p:sp>
        <p:nvSpPr>
          <p:cNvPr id="84" name="Rectangle 83"/>
          <p:cNvSpPr/>
          <p:nvPr/>
        </p:nvSpPr>
        <p:spPr>
          <a:xfrm>
            <a:off x="9671549" y="2065610"/>
            <a:ext cx="1955984" cy="373457"/>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LCK_M_S</a:t>
            </a:r>
          </a:p>
        </p:txBody>
      </p:sp>
      <p:sp>
        <p:nvSpPr>
          <p:cNvPr id="85" name="Rectangle 84"/>
          <p:cNvSpPr/>
          <p:nvPr/>
        </p:nvSpPr>
        <p:spPr>
          <a:xfrm>
            <a:off x="8116133" y="2432364"/>
            <a:ext cx="1555416" cy="380161"/>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9</a:t>
            </a:r>
          </a:p>
        </p:txBody>
      </p:sp>
      <p:sp>
        <p:nvSpPr>
          <p:cNvPr id="86" name="Rectangle 85"/>
          <p:cNvSpPr/>
          <p:nvPr/>
        </p:nvSpPr>
        <p:spPr>
          <a:xfrm>
            <a:off x="9671551" y="2430069"/>
            <a:ext cx="1955983" cy="382456"/>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NETWORKIO</a:t>
            </a:r>
          </a:p>
        </p:txBody>
      </p:sp>
      <p:grpSp>
        <p:nvGrpSpPr>
          <p:cNvPr id="87" name="Group 52"/>
          <p:cNvGrpSpPr/>
          <p:nvPr/>
        </p:nvGrpSpPr>
        <p:grpSpPr>
          <a:xfrm>
            <a:off x="8116134" y="2812526"/>
            <a:ext cx="3511399" cy="373457"/>
            <a:chOff x="4648200" y="2662410"/>
            <a:chExt cx="3200400" cy="381000"/>
          </a:xfrm>
        </p:grpSpPr>
        <p:sp>
          <p:nvSpPr>
            <p:cNvPr id="88" name="Rectangle 87"/>
            <p:cNvSpPr/>
            <p:nvPr/>
          </p:nvSpPr>
          <p:spPr>
            <a:xfrm>
              <a:off x="4648200" y="2662410"/>
              <a:ext cx="1417655"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6</a:t>
              </a:r>
            </a:p>
          </p:txBody>
        </p:sp>
        <p:sp>
          <p:nvSpPr>
            <p:cNvPr id="89" name="Rectangle 88"/>
            <p:cNvSpPr/>
            <p:nvPr/>
          </p:nvSpPr>
          <p:spPr>
            <a:xfrm>
              <a:off x="6065855" y="2662410"/>
              <a:ext cx="1782745"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3333CC"/>
                  </a:solidFill>
                  <a:latin typeface="Segoe UI Light" panose="020B0502040204020203" pitchFamily="34" charset="0"/>
                  <a:cs typeface="Segoe UI Light" panose="020B0502040204020203" pitchFamily="34" charset="0"/>
                </a:rPr>
                <a:t>CXPACKET</a:t>
              </a:r>
            </a:p>
          </p:txBody>
        </p:sp>
      </p:grpSp>
      <p:grpSp>
        <p:nvGrpSpPr>
          <p:cNvPr id="90" name="Group 89"/>
          <p:cNvGrpSpPr/>
          <p:nvPr/>
        </p:nvGrpSpPr>
        <p:grpSpPr>
          <a:xfrm>
            <a:off x="8116134" y="3176984"/>
            <a:ext cx="3511399" cy="373457"/>
            <a:chOff x="7729576" y="4331924"/>
            <a:chExt cx="3582318" cy="381000"/>
          </a:xfrm>
        </p:grpSpPr>
        <p:sp>
          <p:nvSpPr>
            <p:cNvPr id="91" name="Rectangle 90"/>
            <p:cNvSpPr/>
            <p:nvPr/>
          </p:nvSpPr>
          <p:spPr>
            <a:xfrm>
              <a:off x="7729576" y="4331924"/>
              <a:ext cx="1586830"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5</a:t>
              </a:r>
            </a:p>
          </p:txBody>
        </p:sp>
        <p:sp>
          <p:nvSpPr>
            <p:cNvPr id="92" name="Rectangle 91"/>
            <p:cNvSpPr/>
            <p:nvPr/>
          </p:nvSpPr>
          <p:spPr>
            <a:xfrm>
              <a:off x="9316406" y="4331924"/>
              <a:ext cx="1995488"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300" kern="0">
                  <a:solidFill>
                    <a:prstClr val="black"/>
                  </a:solidFill>
                  <a:latin typeface="Segoe UI Light" panose="020B0502040204020203" pitchFamily="34" charset="0"/>
                  <a:cs typeface="Segoe UI Light" panose="020B0502040204020203" pitchFamily="34" charset="0"/>
                </a:rPr>
                <a:t>RESOURCE_SEMAPHORE</a:t>
              </a:r>
            </a:p>
          </p:txBody>
        </p:sp>
      </p:grpSp>
      <p:grpSp>
        <p:nvGrpSpPr>
          <p:cNvPr id="93" name="Group 47"/>
          <p:cNvGrpSpPr/>
          <p:nvPr/>
        </p:nvGrpSpPr>
        <p:grpSpPr>
          <a:xfrm>
            <a:off x="4382460" y="3509746"/>
            <a:ext cx="3510499" cy="374046"/>
            <a:chOff x="1142081" y="3766851"/>
            <a:chExt cx="3201317" cy="381600"/>
          </a:xfrm>
        </p:grpSpPr>
        <p:sp>
          <p:nvSpPr>
            <p:cNvPr id="94" name="Rectangle 93"/>
            <p:cNvSpPr/>
            <p:nvPr/>
          </p:nvSpPr>
          <p:spPr>
            <a:xfrm>
              <a:off x="1142081" y="3766851"/>
              <a:ext cx="141760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1</a:t>
              </a:r>
            </a:p>
          </p:txBody>
        </p:sp>
        <p:sp>
          <p:nvSpPr>
            <p:cNvPr id="95" name="Rectangle 94"/>
            <p:cNvSpPr/>
            <p:nvPr/>
          </p:nvSpPr>
          <p:spPr>
            <a:xfrm>
              <a:off x="2559685" y="3766851"/>
              <a:ext cx="1783713" cy="3816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grpSp>
      <p:grpSp>
        <p:nvGrpSpPr>
          <p:cNvPr id="96" name="Group 48"/>
          <p:cNvGrpSpPr/>
          <p:nvPr/>
        </p:nvGrpSpPr>
        <p:grpSpPr>
          <a:xfrm>
            <a:off x="4382460" y="3882503"/>
            <a:ext cx="3510499" cy="1469533"/>
            <a:chOff x="1142081" y="4152442"/>
            <a:chExt cx="3201317" cy="1499212"/>
          </a:xfrm>
        </p:grpSpPr>
        <p:sp>
          <p:nvSpPr>
            <p:cNvPr id="97" name="Rectangle 96"/>
            <p:cNvSpPr/>
            <p:nvPr/>
          </p:nvSpPr>
          <p:spPr>
            <a:xfrm>
              <a:off x="1142081" y="4152442"/>
              <a:ext cx="141760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64</a:t>
              </a:r>
            </a:p>
          </p:txBody>
        </p:sp>
        <p:sp>
          <p:nvSpPr>
            <p:cNvPr id="98" name="Rectangle 97"/>
            <p:cNvSpPr/>
            <p:nvPr/>
          </p:nvSpPr>
          <p:spPr>
            <a:xfrm>
              <a:off x="2559685" y="4152442"/>
              <a:ext cx="1783713" cy="376409"/>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sp>
          <p:nvSpPr>
            <p:cNvPr id="99" name="Rectangle 98"/>
            <p:cNvSpPr/>
            <p:nvPr/>
          </p:nvSpPr>
          <p:spPr>
            <a:xfrm>
              <a:off x="1142081" y="4524261"/>
              <a:ext cx="141760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87</a:t>
              </a:r>
            </a:p>
          </p:txBody>
        </p:sp>
        <p:sp>
          <p:nvSpPr>
            <p:cNvPr id="100" name="Rectangle 99"/>
            <p:cNvSpPr/>
            <p:nvPr/>
          </p:nvSpPr>
          <p:spPr>
            <a:xfrm>
              <a:off x="2559685" y="4524261"/>
              <a:ext cx="1783713"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sp>
          <p:nvSpPr>
            <p:cNvPr id="101" name="Rectangle 100"/>
            <p:cNvSpPr/>
            <p:nvPr/>
          </p:nvSpPr>
          <p:spPr>
            <a:xfrm>
              <a:off x="1142081" y="4900671"/>
              <a:ext cx="141760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2</a:t>
              </a:r>
            </a:p>
          </p:txBody>
        </p:sp>
        <p:sp>
          <p:nvSpPr>
            <p:cNvPr id="102" name="Rectangle 101"/>
            <p:cNvSpPr/>
            <p:nvPr/>
          </p:nvSpPr>
          <p:spPr>
            <a:xfrm>
              <a:off x="2559685" y="4900671"/>
              <a:ext cx="1783713"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sp>
          <p:nvSpPr>
            <p:cNvPr id="103" name="Rectangle 102"/>
            <p:cNvSpPr/>
            <p:nvPr/>
          </p:nvSpPr>
          <p:spPr>
            <a:xfrm>
              <a:off x="1142081" y="5270654"/>
              <a:ext cx="141760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93</a:t>
              </a:r>
            </a:p>
          </p:txBody>
        </p:sp>
        <p:sp>
          <p:nvSpPr>
            <p:cNvPr id="104" name="Rectangle 103"/>
            <p:cNvSpPr/>
            <p:nvPr/>
          </p:nvSpPr>
          <p:spPr>
            <a:xfrm>
              <a:off x="2559685" y="5270654"/>
              <a:ext cx="1783713"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grpSp>
      <p:grpSp>
        <p:nvGrpSpPr>
          <p:cNvPr id="105" name="Group 46"/>
          <p:cNvGrpSpPr/>
          <p:nvPr/>
        </p:nvGrpSpPr>
        <p:grpSpPr>
          <a:xfrm>
            <a:off x="4382462" y="1468078"/>
            <a:ext cx="3510496" cy="373457"/>
            <a:chOff x="1142081" y="1752600"/>
            <a:chExt cx="3581397" cy="381000"/>
          </a:xfrm>
        </p:grpSpPr>
        <p:sp>
          <p:nvSpPr>
            <p:cNvPr id="106" name="Rectangle 105"/>
            <p:cNvSpPr/>
            <p:nvPr/>
          </p:nvSpPr>
          <p:spPr>
            <a:xfrm>
              <a:off x="1142081" y="1752600"/>
              <a:ext cx="158492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60</a:t>
              </a:r>
            </a:p>
          </p:txBody>
        </p:sp>
        <p:sp>
          <p:nvSpPr>
            <p:cNvPr id="107" name="Rectangle 106"/>
            <p:cNvSpPr/>
            <p:nvPr/>
          </p:nvSpPr>
          <p:spPr>
            <a:xfrm>
              <a:off x="2728982" y="1752600"/>
              <a:ext cx="1994496"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ing</a:t>
              </a:r>
            </a:p>
          </p:txBody>
        </p:sp>
      </p:grpSp>
      <p:grpSp>
        <p:nvGrpSpPr>
          <p:cNvPr id="108" name="Group 49"/>
          <p:cNvGrpSpPr/>
          <p:nvPr/>
        </p:nvGrpSpPr>
        <p:grpSpPr>
          <a:xfrm>
            <a:off x="4382461" y="1470329"/>
            <a:ext cx="3510498" cy="373457"/>
            <a:chOff x="1142080" y="3766851"/>
            <a:chExt cx="3201318" cy="381000"/>
          </a:xfrm>
        </p:grpSpPr>
        <p:sp>
          <p:nvSpPr>
            <p:cNvPr id="109" name="Rectangle 108"/>
            <p:cNvSpPr/>
            <p:nvPr/>
          </p:nvSpPr>
          <p:spPr>
            <a:xfrm>
              <a:off x="1142080" y="3766851"/>
              <a:ext cx="1416723"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8000"/>
                  </a:solidFill>
                  <a:latin typeface="Segoe UI Light" panose="020B0502040204020203" pitchFamily="34" charset="0"/>
                  <a:cs typeface="Segoe UI Light" panose="020B0502040204020203" pitchFamily="34" charset="0"/>
                </a:rPr>
                <a:t>session_id 51</a:t>
              </a:r>
            </a:p>
          </p:txBody>
        </p:sp>
        <p:sp>
          <p:nvSpPr>
            <p:cNvPr id="110" name="Rectangle 109"/>
            <p:cNvSpPr/>
            <p:nvPr/>
          </p:nvSpPr>
          <p:spPr>
            <a:xfrm>
              <a:off x="2559686" y="3766851"/>
              <a:ext cx="1783712"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8000"/>
                  </a:solidFill>
                  <a:latin typeface="Segoe UI Light" panose="020B0502040204020203" pitchFamily="34" charset="0"/>
                  <a:cs typeface="Segoe UI Light" panose="020B0502040204020203" pitchFamily="34" charset="0"/>
                </a:rPr>
                <a:t>Runnable</a:t>
              </a:r>
            </a:p>
          </p:txBody>
        </p:sp>
      </p:grpSp>
      <p:grpSp>
        <p:nvGrpSpPr>
          <p:cNvPr id="111" name="Group 53"/>
          <p:cNvGrpSpPr/>
          <p:nvPr/>
        </p:nvGrpSpPr>
        <p:grpSpPr>
          <a:xfrm>
            <a:off x="4382461" y="1470329"/>
            <a:ext cx="3510498" cy="373457"/>
            <a:chOff x="1142081" y="1739747"/>
            <a:chExt cx="3201316" cy="381000"/>
          </a:xfrm>
        </p:grpSpPr>
        <p:sp>
          <p:nvSpPr>
            <p:cNvPr id="112" name="Rectangle 111"/>
            <p:cNvSpPr/>
            <p:nvPr/>
          </p:nvSpPr>
          <p:spPr>
            <a:xfrm>
              <a:off x="1142081" y="1739747"/>
              <a:ext cx="1418489"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session_id 60</a:t>
              </a:r>
            </a:p>
          </p:txBody>
        </p:sp>
        <p:sp>
          <p:nvSpPr>
            <p:cNvPr id="113" name="Rectangle 112"/>
            <p:cNvSpPr/>
            <p:nvPr/>
          </p:nvSpPr>
          <p:spPr>
            <a:xfrm>
              <a:off x="2560570" y="1739747"/>
              <a:ext cx="1782827"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IO_Completion</a:t>
              </a:r>
            </a:p>
          </p:txBody>
        </p:sp>
      </p:grpSp>
      <p:grpSp>
        <p:nvGrpSpPr>
          <p:cNvPr id="114" name="Group 61"/>
          <p:cNvGrpSpPr/>
          <p:nvPr/>
        </p:nvGrpSpPr>
        <p:grpSpPr>
          <a:xfrm>
            <a:off x="4383432" y="1470330"/>
            <a:ext cx="3510495" cy="382411"/>
            <a:chOff x="1142081" y="3766851"/>
            <a:chExt cx="3581396" cy="381000"/>
          </a:xfrm>
        </p:grpSpPr>
        <p:sp>
          <p:nvSpPr>
            <p:cNvPr id="115" name="Rectangle 114"/>
            <p:cNvSpPr/>
            <p:nvPr/>
          </p:nvSpPr>
          <p:spPr>
            <a:xfrm>
              <a:off x="1142081" y="3766851"/>
              <a:ext cx="1585909"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1</a:t>
              </a:r>
            </a:p>
          </p:txBody>
        </p:sp>
        <p:sp>
          <p:nvSpPr>
            <p:cNvPr id="116" name="Rectangle 115"/>
            <p:cNvSpPr/>
            <p:nvPr/>
          </p:nvSpPr>
          <p:spPr>
            <a:xfrm>
              <a:off x="2727992" y="3766851"/>
              <a:ext cx="1995485"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grpSp>
      <p:grpSp>
        <p:nvGrpSpPr>
          <p:cNvPr id="117" name="Group 67"/>
          <p:cNvGrpSpPr/>
          <p:nvPr/>
        </p:nvGrpSpPr>
        <p:grpSpPr>
          <a:xfrm>
            <a:off x="8116133" y="2813661"/>
            <a:ext cx="3511399" cy="373457"/>
            <a:chOff x="4648200" y="2662410"/>
            <a:chExt cx="3133742" cy="381000"/>
          </a:xfrm>
        </p:grpSpPr>
        <p:sp>
          <p:nvSpPr>
            <p:cNvPr id="118" name="Rectangle 117"/>
            <p:cNvSpPr/>
            <p:nvPr/>
          </p:nvSpPr>
          <p:spPr>
            <a:xfrm>
              <a:off x="4648200" y="2662410"/>
              <a:ext cx="1388127"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session_id 56</a:t>
              </a:r>
            </a:p>
          </p:txBody>
        </p:sp>
        <p:sp>
          <p:nvSpPr>
            <p:cNvPr id="119" name="Rectangle 118"/>
            <p:cNvSpPr/>
            <p:nvPr/>
          </p:nvSpPr>
          <p:spPr>
            <a:xfrm>
              <a:off x="6036328" y="2662410"/>
              <a:ext cx="1745614"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Runnable</a:t>
              </a:r>
            </a:p>
          </p:txBody>
        </p:sp>
      </p:grpSp>
      <p:grpSp>
        <p:nvGrpSpPr>
          <p:cNvPr id="120" name="Group 75"/>
          <p:cNvGrpSpPr/>
          <p:nvPr/>
        </p:nvGrpSpPr>
        <p:grpSpPr>
          <a:xfrm>
            <a:off x="8431672" y="2837717"/>
            <a:ext cx="2464818" cy="334769"/>
            <a:chOff x="8077200" y="3581400"/>
            <a:chExt cx="2667000" cy="609600"/>
          </a:xfrm>
        </p:grpSpPr>
        <p:cxnSp>
          <p:nvCxnSpPr>
            <p:cNvPr id="121" name="Straight Connector 120"/>
            <p:cNvCxnSpPr/>
            <p:nvPr/>
          </p:nvCxnSpPr>
          <p:spPr>
            <a:xfrm>
              <a:off x="8077200" y="3581400"/>
              <a:ext cx="2667000" cy="609600"/>
            </a:xfrm>
            <a:prstGeom prst="line">
              <a:avLst/>
            </a:prstGeom>
            <a:noFill/>
            <a:ln w="38100" cap="flat" cmpd="sng" algn="ctr">
              <a:solidFill>
                <a:srgbClr val="FF0000"/>
              </a:solidFill>
              <a:prstDash val="solid"/>
            </a:ln>
            <a:effectLst/>
          </p:spPr>
        </p:cxnSp>
        <p:cxnSp>
          <p:nvCxnSpPr>
            <p:cNvPr id="122" name="Straight Connector 121"/>
            <p:cNvCxnSpPr/>
            <p:nvPr/>
          </p:nvCxnSpPr>
          <p:spPr>
            <a:xfrm flipH="1">
              <a:off x="8077200" y="3581400"/>
              <a:ext cx="2667000" cy="609600"/>
            </a:xfrm>
            <a:prstGeom prst="line">
              <a:avLst/>
            </a:prstGeom>
            <a:noFill/>
            <a:ln w="38100" cap="flat" cmpd="sng" algn="ctr">
              <a:solidFill>
                <a:srgbClr val="FF0000"/>
              </a:solidFill>
              <a:prstDash val="solid"/>
            </a:ln>
            <a:effectLst/>
          </p:spPr>
        </p:cxnSp>
      </p:grpSp>
      <p:grpSp>
        <p:nvGrpSpPr>
          <p:cNvPr id="123" name="Group 76"/>
          <p:cNvGrpSpPr/>
          <p:nvPr/>
        </p:nvGrpSpPr>
        <p:grpSpPr>
          <a:xfrm>
            <a:off x="4382459" y="4978578"/>
            <a:ext cx="3510497" cy="373457"/>
            <a:chOff x="1142080" y="3766851"/>
            <a:chExt cx="3201318" cy="381000"/>
          </a:xfrm>
        </p:grpSpPr>
        <p:sp>
          <p:nvSpPr>
            <p:cNvPr id="124" name="Rectangle 123"/>
            <p:cNvSpPr/>
            <p:nvPr/>
          </p:nvSpPr>
          <p:spPr>
            <a:xfrm>
              <a:off x="1142080" y="3766851"/>
              <a:ext cx="1417606"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session_id 56</a:t>
              </a:r>
            </a:p>
          </p:txBody>
        </p:sp>
        <p:sp>
          <p:nvSpPr>
            <p:cNvPr id="125" name="Rectangle 124"/>
            <p:cNvSpPr/>
            <p:nvPr/>
          </p:nvSpPr>
          <p:spPr>
            <a:xfrm>
              <a:off x="2559686" y="3766851"/>
              <a:ext cx="1783712"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Runnable</a:t>
              </a:r>
            </a:p>
          </p:txBody>
        </p:sp>
      </p:grpSp>
      <p:grpSp>
        <p:nvGrpSpPr>
          <p:cNvPr id="126" name="Group 82"/>
          <p:cNvGrpSpPr/>
          <p:nvPr/>
        </p:nvGrpSpPr>
        <p:grpSpPr>
          <a:xfrm>
            <a:off x="4381494" y="1470331"/>
            <a:ext cx="3510497" cy="391411"/>
            <a:chOff x="1142081" y="3764555"/>
            <a:chExt cx="3200399" cy="383296"/>
          </a:xfrm>
        </p:grpSpPr>
        <p:sp>
          <p:nvSpPr>
            <p:cNvPr id="127" name="Rectangle 126"/>
            <p:cNvSpPr/>
            <p:nvPr/>
          </p:nvSpPr>
          <p:spPr>
            <a:xfrm>
              <a:off x="1142081" y="3764555"/>
              <a:ext cx="1424826" cy="383296"/>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8000"/>
                  </a:solidFill>
                  <a:latin typeface="Segoe UI Light" panose="020B0502040204020203" pitchFamily="34" charset="0"/>
                  <a:cs typeface="Segoe UI Light" panose="020B0502040204020203" pitchFamily="34" charset="0"/>
                </a:rPr>
                <a:t>session_id 51</a:t>
              </a:r>
            </a:p>
          </p:txBody>
        </p:sp>
        <p:sp>
          <p:nvSpPr>
            <p:cNvPr id="128" name="Rectangle 127"/>
            <p:cNvSpPr/>
            <p:nvPr/>
          </p:nvSpPr>
          <p:spPr>
            <a:xfrm>
              <a:off x="2559275" y="3764555"/>
              <a:ext cx="1783205" cy="383296"/>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8000"/>
                  </a:solidFill>
                  <a:latin typeface="Segoe UI Light" panose="020B0502040204020203" pitchFamily="34" charset="0"/>
                  <a:cs typeface="Segoe UI Light" panose="020B0502040204020203" pitchFamily="34" charset="0"/>
                </a:rPr>
                <a:t>Running</a:t>
              </a:r>
            </a:p>
          </p:txBody>
        </p:sp>
      </p:grpSp>
      <p:grpSp>
        <p:nvGrpSpPr>
          <p:cNvPr id="129" name="Group 79"/>
          <p:cNvGrpSpPr/>
          <p:nvPr/>
        </p:nvGrpSpPr>
        <p:grpSpPr>
          <a:xfrm>
            <a:off x="4382460" y="4978578"/>
            <a:ext cx="3510499" cy="373457"/>
            <a:chOff x="1142081" y="3766851"/>
            <a:chExt cx="3200400" cy="381000"/>
          </a:xfrm>
        </p:grpSpPr>
        <p:sp>
          <p:nvSpPr>
            <p:cNvPr id="130" name="Rectangle 129"/>
            <p:cNvSpPr/>
            <p:nvPr/>
          </p:nvSpPr>
          <p:spPr>
            <a:xfrm>
              <a:off x="1142081" y="3766851"/>
              <a:ext cx="1417198"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6</a:t>
              </a:r>
            </a:p>
          </p:txBody>
        </p:sp>
        <p:sp>
          <p:nvSpPr>
            <p:cNvPr id="131" name="Rectangle 130"/>
            <p:cNvSpPr/>
            <p:nvPr/>
          </p:nvSpPr>
          <p:spPr>
            <a:xfrm>
              <a:off x="2559279" y="3766851"/>
              <a:ext cx="1783202"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grpSp>
      <p:sp>
        <p:nvSpPr>
          <p:cNvPr id="132" name="Rectangle 131"/>
          <p:cNvSpPr/>
          <p:nvPr/>
        </p:nvSpPr>
        <p:spPr>
          <a:xfrm>
            <a:off x="635956" y="3516719"/>
            <a:ext cx="3492556" cy="1835319"/>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60 needs a page not in cache. Thus its status changes from Running to Suspended with wait type IO_Completion.</a:t>
            </a:r>
            <a:endParaRPr lang="pt-PT" sz="1765" kern="0">
              <a:solidFill>
                <a:srgbClr val="000000"/>
              </a:solidFill>
              <a:latin typeface="Segoe UI Light" panose="020B0502040204020203" pitchFamily="34" charset="0"/>
              <a:cs typeface="Segoe UI Light" panose="020B0502040204020203" pitchFamily="34" charset="0"/>
            </a:endParaRPr>
          </a:p>
        </p:txBody>
      </p:sp>
      <p:sp>
        <p:nvSpPr>
          <p:cNvPr id="133" name="Rectangle 132"/>
          <p:cNvSpPr/>
          <p:nvPr/>
        </p:nvSpPr>
        <p:spPr>
          <a:xfrm>
            <a:off x="635956" y="3516718"/>
            <a:ext cx="3492555" cy="1841512"/>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60 moved to the Waiter List.</a:t>
            </a:r>
            <a:endParaRPr lang="pt-PT" sz="1765" kern="0">
              <a:solidFill>
                <a:srgbClr val="000000"/>
              </a:solidFill>
              <a:latin typeface="Segoe UI Light" panose="020B0502040204020203" pitchFamily="34" charset="0"/>
              <a:cs typeface="Segoe UI Light" panose="020B0502040204020203" pitchFamily="34" charset="0"/>
            </a:endParaRPr>
          </a:p>
        </p:txBody>
      </p:sp>
      <p:sp>
        <p:nvSpPr>
          <p:cNvPr id="134" name="Rectangle 133"/>
          <p:cNvSpPr/>
          <p:nvPr/>
        </p:nvSpPr>
        <p:spPr>
          <a:xfrm>
            <a:off x="635956" y="3516718"/>
            <a:ext cx="3492555" cy="1841512"/>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51 moves from Runnable queue with a Runnable status to Running status.</a:t>
            </a:r>
          </a:p>
        </p:txBody>
      </p:sp>
      <p:sp>
        <p:nvSpPr>
          <p:cNvPr id="135" name="Rectangle 134"/>
          <p:cNvSpPr/>
          <p:nvPr/>
        </p:nvSpPr>
        <p:spPr>
          <a:xfrm>
            <a:off x="635963" y="3518598"/>
            <a:ext cx="3492553" cy="1847937"/>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64 then moves to the top of the Runnable queue.</a:t>
            </a:r>
          </a:p>
        </p:txBody>
      </p:sp>
      <p:sp>
        <p:nvSpPr>
          <p:cNvPr id="136" name="Rectangle 135"/>
          <p:cNvSpPr/>
          <p:nvPr/>
        </p:nvSpPr>
        <p:spPr>
          <a:xfrm>
            <a:off x="635958" y="3518599"/>
            <a:ext cx="3492560" cy="1845614"/>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56 is waiting for a parallel process to complete. When the parallel process is completed, the status for SPID56 changes from Suspended with wait type CXPACKET to Runnable.</a:t>
            </a:r>
          </a:p>
        </p:txBody>
      </p:sp>
      <p:sp>
        <p:nvSpPr>
          <p:cNvPr id="137" name="Rectangle 136"/>
          <p:cNvSpPr/>
          <p:nvPr/>
        </p:nvSpPr>
        <p:spPr>
          <a:xfrm>
            <a:off x="635950" y="3504542"/>
            <a:ext cx="3492558" cy="1835319"/>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56 moved to the bottom of the Runnable queue.</a:t>
            </a:r>
          </a:p>
        </p:txBody>
      </p:sp>
      <p:sp>
        <p:nvSpPr>
          <p:cNvPr id="138" name="Explosion 1 137"/>
          <p:cNvSpPr/>
          <p:nvPr/>
        </p:nvSpPr>
        <p:spPr>
          <a:xfrm>
            <a:off x="8985292" y="4001907"/>
            <a:ext cx="2315436" cy="1421849"/>
          </a:xfrm>
          <a:prstGeom prst="irregularSeal1">
            <a:avLst/>
          </a:prstGeom>
          <a:gradFill rotWithShape="1">
            <a:gsLst>
              <a:gs pos="0">
                <a:srgbClr val="0A5BBA">
                  <a:tint val="100000"/>
                  <a:shade val="100000"/>
                  <a:satMod val="130000"/>
                </a:srgbClr>
              </a:gs>
              <a:gs pos="100000">
                <a:srgbClr val="0A5BBA">
                  <a:tint val="50000"/>
                  <a:shade val="100000"/>
                  <a:satMod val="350000"/>
                </a:srgbClr>
              </a:gs>
            </a:gsLst>
            <a:lin ang="16200000" scaled="0"/>
          </a:gradFill>
          <a:ln w="9525" cap="flat" cmpd="sng" algn="ctr">
            <a:solidFill>
              <a:srgbClr val="0A5BBA">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07">
              <a:defRPr/>
            </a:pPr>
            <a:r>
              <a:rPr lang="en-US" sz="1765" b="1" kern="0">
                <a:solidFill>
                  <a:prstClr val="white"/>
                </a:solidFill>
                <a:latin typeface="Segoe UI Light" panose="020B0502040204020203" pitchFamily="34" charset="0"/>
                <a:cs typeface="Segoe UI Light" panose="020B0502040204020203" pitchFamily="34" charset="0"/>
              </a:rPr>
              <a:t>Unordered List</a:t>
            </a:r>
            <a:endParaRPr lang="pt-PT" sz="1765" b="1" kern="0">
              <a:solidFill>
                <a:prstClr val="white"/>
              </a:solidFill>
              <a:latin typeface="Segoe UI Light" panose="020B0502040204020203" pitchFamily="34" charset="0"/>
              <a:cs typeface="Segoe UI Light" panose="020B0502040204020203" pitchFamily="34" charset="0"/>
            </a:endParaRPr>
          </a:p>
        </p:txBody>
      </p:sp>
      <p:sp>
        <p:nvSpPr>
          <p:cNvPr id="139" name="Explosion 1 138"/>
          <p:cNvSpPr/>
          <p:nvPr/>
        </p:nvSpPr>
        <p:spPr>
          <a:xfrm>
            <a:off x="3064218" y="2012769"/>
            <a:ext cx="2315436" cy="1190586"/>
          </a:xfrm>
          <a:prstGeom prst="irregularSeal1">
            <a:avLst/>
          </a:prstGeom>
          <a:gradFill rotWithShape="1">
            <a:gsLst>
              <a:gs pos="0">
                <a:srgbClr val="0A5BBA">
                  <a:tint val="100000"/>
                  <a:shade val="100000"/>
                  <a:satMod val="130000"/>
                </a:srgbClr>
              </a:gs>
              <a:gs pos="100000">
                <a:srgbClr val="0A5BBA">
                  <a:tint val="50000"/>
                  <a:shade val="100000"/>
                  <a:satMod val="350000"/>
                </a:srgbClr>
              </a:gs>
            </a:gsLst>
            <a:lin ang="16200000" scaled="0"/>
          </a:gradFill>
          <a:ln w="9525" cap="flat" cmpd="sng" algn="ctr">
            <a:solidFill>
              <a:srgbClr val="0A5BBA">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07">
              <a:defRPr/>
            </a:pPr>
            <a:r>
              <a:rPr lang="en-US" sz="1765" b="1" kern="0">
                <a:solidFill>
                  <a:prstClr val="white"/>
                </a:solidFill>
                <a:latin typeface="Segoe UI Light" panose="020B0502040204020203" pitchFamily="34" charset="0"/>
                <a:cs typeface="Segoe UI Light" panose="020B0502040204020203" pitchFamily="34" charset="0"/>
              </a:rPr>
              <a:t>FIFO List</a:t>
            </a:r>
            <a:endParaRPr lang="pt-PT" sz="1765" b="1" kern="0">
              <a:solidFill>
                <a:prstClr val="white"/>
              </a:solidFill>
              <a:latin typeface="Segoe UI Light" panose="020B0502040204020203" pitchFamily="34" charset="0"/>
              <a:cs typeface="Segoe UI Light" panose="020B0502040204020203" pitchFamily="34" charset="0"/>
            </a:endParaRPr>
          </a:p>
        </p:txBody>
      </p:sp>
    </p:spTree>
    <p:custDataLst>
      <p:tags r:id="rId1"/>
    </p:custDataLst>
    <p:extLst>
      <p:ext uri="{BB962C8B-B14F-4D97-AF65-F5344CB8AC3E}">
        <p14:creationId xmlns:p14="http://schemas.microsoft.com/office/powerpoint/2010/main" val="2836365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fade">
                                      <p:cBhvr>
                                        <p:cTn id="7" dur="1000"/>
                                        <p:tgtEl>
                                          <p:spTgt spid="111"/>
                                        </p:tgtEl>
                                      </p:cBhvr>
                                    </p:animEffect>
                                  </p:childTnLst>
                                </p:cTn>
                              </p:par>
                              <p:par>
                                <p:cTn id="8" presetID="10" presetClass="exit" presetSubtype="0" fill="hold" nodeType="withEffect">
                                  <p:stCondLst>
                                    <p:cond delay="0"/>
                                  </p:stCondLst>
                                  <p:childTnLst>
                                    <p:animEffect transition="out" filter="fade">
                                      <p:cBhvr>
                                        <p:cTn id="9" dur="2000"/>
                                        <p:tgtEl>
                                          <p:spTgt spid="105"/>
                                        </p:tgtEl>
                                      </p:cBhvr>
                                    </p:animEffect>
                                    <p:set>
                                      <p:cBhvr>
                                        <p:cTn id="10" dur="1" fill="hold">
                                          <p:stCondLst>
                                            <p:cond delay="1999"/>
                                          </p:stCondLst>
                                        </p:cTn>
                                        <p:tgtEl>
                                          <p:spTgt spid="105"/>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13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0" presetClass="path" presetSubtype="0" accel="50000" decel="50000" fill="hold" nodeType="clickEffect">
                                  <p:stCondLst>
                                    <p:cond delay="0"/>
                                  </p:stCondLst>
                                  <p:childTnLst>
                                    <p:animMotion origin="layout" path="M 1.875E-6 4.81481E-6 L 0.30599 0.30324 " pathEditMode="relative" rAng="0" ptsTypes="AA">
                                      <p:cBhvr>
                                        <p:cTn id="16" dur="2000" fill="hold"/>
                                        <p:tgtEl>
                                          <p:spTgt spid="111"/>
                                        </p:tgtEl>
                                        <p:attrNameLst>
                                          <p:attrName>ppt_x</p:attrName>
                                          <p:attrName>ppt_y</p:attrName>
                                        </p:attrNameLst>
                                      </p:cBhvr>
                                      <p:rCtr x="15208" y="14838"/>
                                    </p:animMotion>
                                  </p:childTnLst>
                                </p:cTn>
                              </p:par>
                              <p:par>
                                <p:cTn id="17" presetID="1" presetClass="entr" presetSubtype="0" fill="hold" grpId="0" nodeType="withEffect">
                                  <p:stCondLst>
                                    <p:cond delay="0"/>
                                  </p:stCondLst>
                                  <p:childTnLst>
                                    <p:set>
                                      <p:cBhvr>
                                        <p:cTn id="18" dur="1" fill="hold">
                                          <p:stCondLst>
                                            <p:cond delay="0"/>
                                          </p:stCondLst>
                                        </p:cTn>
                                        <p:tgtEl>
                                          <p:spTgt spid="133"/>
                                        </p:tgtEl>
                                        <p:attrNameLst>
                                          <p:attrName>style.visibility</p:attrName>
                                        </p:attrNameLst>
                                      </p:cBhvr>
                                      <p:to>
                                        <p:strVal val="visible"/>
                                      </p:to>
                                    </p:set>
                                  </p:childTnLst>
                                </p:cTn>
                              </p:par>
                            </p:childTnLst>
                          </p:cTn>
                        </p:par>
                        <p:par>
                          <p:cTn id="19" fill="hold">
                            <p:stCondLst>
                              <p:cond delay="2000"/>
                            </p:stCondLst>
                            <p:childTnLst>
                              <p:par>
                                <p:cTn id="20" presetID="10" presetClass="exit" presetSubtype="0" fill="hold" nodeType="afterEffect">
                                  <p:stCondLst>
                                    <p:cond delay="0"/>
                                  </p:stCondLst>
                                  <p:childTnLst>
                                    <p:animEffect transition="out" filter="fade">
                                      <p:cBhvr>
                                        <p:cTn id="21" dur="3000"/>
                                        <p:tgtEl>
                                          <p:spTgt spid="74"/>
                                        </p:tgtEl>
                                      </p:cBhvr>
                                    </p:animEffect>
                                    <p:set>
                                      <p:cBhvr>
                                        <p:cTn id="22" dur="1" fill="hold">
                                          <p:stCondLst>
                                            <p:cond delay="2999"/>
                                          </p:stCondLst>
                                        </p:cTn>
                                        <p:tgtEl>
                                          <p:spTgt spid="74"/>
                                        </p:tgtEl>
                                        <p:attrNameLst>
                                          <p:attrName>style.visibility</p:attrName>
                                        </p:attrNameLst>
                                      </p:cBhvr>
                                      <p:to>
                                        <p:strVal val="hidden"/>
                                      </p:to>
                                    </p:set>
                                  </p:childTnLst>
                                </p:cTn>
                              </p:par>
                              <p:par>
                                <p:cTn id="23" presetID="1" presetClass="exit" presetSubtype="0" fill="hold" nodeType="withEffect">
                                  <p:stCondLst>
                                    <p:cond delay="0"/>
                                  </p:stCondLst>
                                  <p:childTnLst>
                                    <p:set>
                                      <p:cBhvr>
                                        <p:cTn id="24" dur="1" fill="hold">
                                          <p:stCondLst>
                                            <p:cond delay="0"/>
                                          </p:stCondLst>
                                        </p:cTn>
                                        <p:tgtEl>
                                          <p:spTgt spid="111"/>
                                        </p:tgtEl>
                                        <p:attrNameLst>
                                          <p:attrName>style.visibility</p:attrName>
                                        </p:attrNameLst>
                                      </p:cBhvr>
                                      <p:to>
                                        <p:strVal val="hidden"/>
                                      </p:to>
                                    </p:set>
                                  </p:childTnLst>
                                </p:cTn>
                              </p:par>
                              <p:par>
                                <p:cTn id="25" presetID="1" presetClass="entr" presetSubtype="0" fill="hold" nodeType="withEffect">
                                  <p:stCondLst>
                                    <p:cond delay="0"/>
                                  </p:stCondLst>
                                  <p:childTnLst>
                                    <p:set>
                                      <p:cBhvr>
                                        <p:cTn id="26" dur="1" fill="hold">
                                          <p:stCondLst>
                                            <p:cond delay="0"/>
                                          </p:stCondLst>
                                        </p:cTn>
                                        <p:tgtEl>
                                          <p:spTgt spid="7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3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0" presetClass="path" presetSubtype="0" accel="50000" decel="50000" fill="hold" nodeType="clickEffect">
                                  <p:stCondLst>
                                    <p:cond delay="0"/>
                                  </p:stCondLst>
                                  <p:childTnLst>
                                    <p:animMotion origin="layout" path="M 3.125E-6 0.00579 L 3.125E-6 -0.29768 " pathEditMode="relative" rAng="0" ptsTypes="AA">
                                      <p:cBhvr>
                                        <p:cTn id="32" dur="2000" fill="hold"/>
                                        <p:tgtEl>
                                          <p:spTgt spid="93"/>
                                        </p:tgtEl>
                                        <p:attrNameLst>
                                          <p:attrName>ppt_x</p:attrName>
                                          <p:attrName>ppt_y</p:attrName>
                                        </p:attrNameLst>
                                      </p:cBhvr>
                                      <p:rCtr x="0" y="-15185"/>
                                    </p:animMotion>
                                  </p:childTnLst>
                                </p:cTn>
                              </p:par>
                              <p:par>
                                <p:cTn id="33" presetID="1" presetClass="exit" presetSubtype="0" fill="hold" grpId="1" nodeType="withEffect">
                                  <p:stCondLst>
                                    <p:cond delay="0"/>
                                  </p:stCondLst>
                                  <p:childTnLst>
                                    <p:set>
                                      <p:cBhvr>
                                        <p:cTn id="34" dur="1" fill="hold">
                                          <p:stCondLst>
                                            <p:cond delay="0"/>
                                          </p:stCondLst>
                                        </p:cTn>
                                        <p:tgtEl>
                                          <p:spTgt spid="138"/>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134"/>
                                        </p:tgtEl>
                                        <p:attrNameLst>
                                          <p:attrName>style.visibility</p:attrName>
                                        </p:attrNameLst>
                                      </p:cBhvr>
                                      <p:to>
                                        <p:strVal val="visible"/>
                                      </p:to>
                                    </p:set>
                                  </p:childTnLst>
                                </p:cTn>
                              </p:par>
                            </p:childTnLst>
                          </p:cTn>
                        </p:par>
                        <p:par>
                          <p:cTn id="37" fill="hold">
                            <p:stCondLst>
                              <p:cond delay="2000"/>
                            </p:stCondLst>
                            <p:childTnLst>
                              <p:par>
                                <p:cTn id="38" presetID="1" presetClass="entr" presetSubtype="0" fill="hold" grpId="0" nodeType="afterEffect">
                                  <p:stCondLst>
                                    <p:cond delay="0"/>
                                  </p:stCondLst>
                                  <p:childTnLst>
                                    <p:set>
                                      <p:cBhvr>
                                        <p:cTn id="39" dur="1" fill="hold">
                                          <p:stCondLst>
                                            <p:cond delay="0"/>
                                          </p:stCondLst>
                                        </p:cTn>
                                        <p:tgtEl>
                                          <p:spTgt spid="139"/>
                                        </p:tgtEl>
                                        <p:attrNameLst>
                                          <p:attrName>style.visibility</p:attrName>
                                        </p:attrNameLst>
                                      </p:cBhvr>
                                      <p:to>
                                        <p:strVal val="visible"/>
                                      </p:to>
                                    </p:set>
                                  </p:childTnLst>
                                </p:cTn>
                              </p:par>
                            </p:childTnLst>
                          </p:cTn>
                        </p:par>
                        <p:par>
                          <p:cTn id="40" fill="hold">
                            <p:stCondLst>
                              <p:cond delay="2000"/>
                            </p:stCondLst>
                            <p:childTnLst>
                              <p:par>
                                <p:cTn id="41" presetID="10" presetClass="entr" presetSubtype="0" fill="hold" nodeType="afterEffect">
                                  <p:stCondLst>
                                    <p:cond delay="0"/>
                                  </p:stCondLst>
                                  <p:childTnLst>
                                    <p:set>
                                      <p:cBhvr>
                                        <p:cTn id="42" dur="1" fill="hold">
                                          <p:stCondLst>
                                            <p:cond delay="0"/>
                                          </p:stCondLst>
                                        </p:cTn>
                                        <p:tgtEl>
                                          <p:spTgt spid="126"/>
                                        </p:tgtEl>
                                        <p:attrNameLst>
                                          <p:attrName>style.visibility</p:attrName>
                                        </p:attrNameLst>
                                      </p:cBhvr>
                                      <p:to>
                                        <p:strVal val="visible"/>
                                      </p:to>
                                    </p:set>
                                    <p:animEffect transition="in" filter="fade">
                                      <p:cBhvr>
                                        <p:cTn id="43" dur="1000"/>
                                        <p:tgtEl>
                                          <p:spTgt spid="126"/>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xit" presetSubtype="0" fill="hold" nodeType="clickEffect">
                                  <p:stCondLst>
                                    <p:cond delay="0"/>
                                  </p:stCondLst>
                                  <p:childTnLst>
                                    <p:animEffect transition="out" filter="fade">
                                      <p:cBhvr>
                                        <p:cTn id="47" dur="2000"/>
                                        <p:tgtEl>
                                          <p:spTgt spid="93"/>
                                        </p:tgtEl>
                                      </p:cBhvr>
                                    </p:animEffect>
                                    <p:set>
                                      <p:cBhvr>
                                        <p:cTn id="48" dur="1" fill="hold">
                                          <p:stCondLst>
                                            <p:cond delay="1999"/>
                                          </p:stCondLst>
                                        </p:cTn>
                                        <p:tgtEl>
                                          <p:spTgt spid="93"/>
                                        </p:tgtEl>
                                        <p:attrNameLst>
                                          <p:attrName>style.visibility</p:attrName>
                                        </p:attrNameLst>
                                      </p:cBhvr>
                                      <p:to>
                                        <p:strVal val="hidden"/>
                                      </p:to>
                                    </p:set>
                                  </p:childTnLst>
                                </p:cTn>
                              </p:par>
                              <p:par>
                                <p:cTn id="49" presetID="1" presetClass="exit" presetSubtype="0" fill="hold" grpId="1" nodeType="withEffect">
                                  <p:stCondLst>
                                    <p:cond delay="0"/>
                                  </p:stCondLst>
                                  <p:childTnLst>
                                    <p:set>
                                      <p:cBhvr>
                                        <p:cTn id="50" dur="1" fill="hold">
                                          <p:stCondLst>
                                            <p:cond delay="0"/>
                                          </p:stCondLst>
                                        </p:cTn>
                                        <p:tgtEl>
                                          <p:spTgt spid="139"/>
                                        </p:tgtEl>
                                        <p:attrNameLst>
                                          <p:attrName>style.visibility</p:attrName>
                                        </p:attrNameLst>
                                      </p:cBhvr>
                                      <p:to>
                                        <p:strVal val="hidden"/>
                                      </p:to>
                                    </p:set>
                                  </p:childTnLst>
                                </p:cTn>
                              </p:par>
                              <p:par>
                                <p:cTn id="51" presetID="10" presetClass="entr" presetSubtype="0" fill="hold" nodeType="withEffect">
                                  <p:stCondLst>
                                    <p:cond delay="0"/>
                                  </p:stCondLst>
                                  <p:childTnLst>
                                    <p:set>
                                      <p:cBhvr>
                                        <p:cTn id="52" dur="1" fill="hold">
                                          <p:stCondLst>
                                            <p:cond delay="0"/>
                                          </p:stCondLst>
                                        </p:cTn>
                                        <p:tgtEl>
                                          <p:spTgt spid="108"/>
                                        </p:tgtEl>
                                        <p:attrNameLst>
                                          <p:attrName>style.visibility</p:attrName>
                                        </p:attrNameLst>
                                      </p:cBhvr>
                                      <p:to>
                                        <p:strVal val="visible"/>
                                      </p:to>
                                    </p:set>
                                    <p:animEffect transition="in" filter="fade">
                                      <p:cBhvr>
                                        <p:cTn id="53" dur="2000"/>
                                        <p:tgtEl>
                                          <p:spTgt spid="108"/>
                                        </p:tgtEl>
                                      </p:cBhvr>
                                    </p:animEffect>
                                  </p:childTnLst>
                                </p:cTn>
                              </p:par>
                              <p:par>
                                <p:cTn id="54" presetID="0" presetClass="path" presetSubtype="0" accel="50000" decel="50000" fill="hold" nodeType="withEffect">
                                  <p:stCondLst>
                                    <p:cond delay="0"/>
                                  </p:stCondLst>
                                  <p:childTnLst>
                                    <p:animMotion origin="layout" path="M 4.16667E-7 -3.33333E-6 L 4.16667E-7 -0.05555 " pathEditMode="relative" rAng="0" ptsTypes="AA">
                                      <p:cBhvr>
                                        <p:cTn id="55" dur="2000" fill="hold"/>
                                        <p:tgtEl>
                                          <p:spTgt spid="96"/>
                                        </p:tgtEl>
                                        <p:attrNameLst>
                                          <p:attrName>ppt_x</p:attrName>
                                          <p:attrName>ppt_y</p:attrName>
                                        </p:attrNameLst>
                                      </p:cBhvr>
                                      <p:rCtr x="0" y="-2778"/>
                                    </p:animMotion>
                                  </p:childTnLst>
                                </p:cTn>
                              </p:par>
                              <p:par>
                                <p:cTn id="56" presetID="1" presetClass="entr" presetSubtype="0" fill="hold" grpId="0" nodeType="withEffect">
                                  <p:stCondLst>
                                    <p:cond delay="0"/>
                                  </p:stCondLst>
                                  <p:childTnLst>
                                    <p:set>
                                      <p:cBhvr>
                                        <p:cTn id="57" dur="1" fill="hold">
                                          <p:stCondLst>
                                            <p:cond delay="0"/>
                                          </p:stCondLst>
                                        </p:cTn>
                                        <p:tgtEl>
                                          <p:spTgt spid="135"/>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114"/>
                                        </p:tgtEl>
                                        <p:attrNameLst>
                                          <p:attrName>style.visibility</p:attrName>
                                        </p:attrNameLst>
                                      </p:cBhvr>
                                      <p:to>
                                        <p:strVal val="visible"/>
                                      </p:to>
                                    </p:set>
                                    <p:animEffect transition="in" filter="fade">
                                      <p:cBhvr>
                                        <p:cTn id="62" dur="2000"/>
                                        <p:tgtEl>
                                          <p:spTgt spid="114"/>
                                        </p:tgtEl>
                                      </p:cBhvr>
                                    </p:animEffect>
                                  </p:childTnLst>
                                </p:cTn>
                              </p:par>
                              <p:par>
                                <p:cTn id="63" presetID="1" presetClass="entr" presetSubtype="0" fill="hold" grpId="0" nodeType="withEffect">
                                  <p:stCondLst>
                                    <p:cond delay="0"/>
                                  </p:stCondLst>
                                  <p:childTnLst>
                                    <p:set>
                                      <p:cBhvr>
                                        <p:cTn id="64" dur="1" fill="hold">
                                          <p:stCondLst>
                                            <p:cond delay="0"/>
                                          </p:stCondLst>
                                        </p:cTn>
                                        <p:tgtEl>
                                          <p:spTgt spid="136"/>
                                        </p:tgtEl>
                                        <p:attrNameLst>
                                          <p:attrName>style.visibility</p:attrName>
                                        </p:attrNameLst>
                                      </p:cBhvr>
                                      <p:to>
                                        <p:strVal val="visible"/>
                                      </p:to>
                                    </p:set>
                                  </p:childTnLst>
                                </p:cTn>
                              </p:par>
                              <p:par>
                                <p:cTn id="65" presetID="10" presetClass="exit" presetSubtype="0" fill="hold" nodeType="withEffect">
                                  <p:stCondLst>
                                    <p:cond delay="0"/>
                                  </p:stCondLst>
                                  <p:childTnLst>
                                    <p:animEffect transition="out" filter="fade">
                                      <p:cBhvr>
                                        <p:cTn id="66" dur="2000"/>
                                        <p:tgtEl>
                                          <p:spTgt spid="93"/>
                                        </p:tgtEl>
                                      </p:cBhvr>
                                    </p:animEffect>
                                    <p:set>
                                      <p:cBhvr>
                                        <p:cTn id="67" dur="1" fill="hold">
                                          <p:stCondLst>
                                            <p:cond delay="1999"/>
                                          </p:stCondLst>
                                        </p:cTn>
                                        <p:tgtEl>
                                          <p:spTgt spid="93"/>
                                        </p:tgtEl>
                                        <p:attrNameLst>
                                          <p:attrName>style.visibility</p:attrName>
                                        </p:attrNameLst>
                                      </p:cBhvr>
                                      <p:to>
                                        <p:strVal val="hidden"/>
                                      </p:to>
                                    </p:set>
                                  </p:childTnLst>
                                </p:cTn>
                              </p:par>
                              <p:par>
                                <p:cTn id="68" presetID="10" presetClass="entr" presetSubtype="0" fill="hold" nodeType="withEffect">
                                  <p:stCondLst>
                                    <p:cond delay="0"/>
                                  </p:stCondLst>
                                  <p:childTnLst>
                                    <p:set>
                                      <p:cBhvr>
                                        <p:cTn id="69" dur="1" fill="hold">
                                          <p:stCondLst>
                                            <p:cond delay="0"/>
                                          </p:stCondLst>
                                        </p:cTn>
                                        <p:tgtEl>
                                          <p:spTgt spid="120"/>
                                        </p:tgtEl>
                                        <p:attrNameLst>
                                          <p:attrName>style.visibility</p:attrName>
                                        </p:attrNameLst>
                                      </p:cBhvr>
                                      <p:to>
                                        <p:strVal val="visible"/>
                                      </p:to>
                                    </p:set>
                                    <p:animEffect transition="in" filter="fade">
                                      <p:cBhvr>
                                        <p:cTn id="70" dur="2000"/>
                                        <p:tgtEl>
                                          <p:spTgt spid="120"/>
                                        </p:tgtEl>
                                      </p:cBhvr>
                                    </p:animEffect>
                                  </p:childTnLst>
                                </p:cTn>
                              </p:par>
                              <p:par>
                                <p:cTn id="71" presetID="10" presetClass="entr" presetSubtype="0" fill="hold" nodeType="withEffect">
                                  <p:stCondLst>
                                    <p:cond delay="0"/>
                                  </p:stCondLst>
                                  <p:childTnLst>
                                    <p:set>
                                      <p:cBhvr>
                                        <p:cTn id="72" dur="1" fill="hold">
                                          <p:stCondLst>
                                            <p:cond delay="0"/>
                                          </p:stCondLst>
                                        </p:cTn>
                                        <p:tgtEl>
                                          <p:spTgt spid="117"/>
                                        </p:tgtEl>
                                        <p:attrNameLst>
                                          <p:attrName>style.visibility</p:attrName>
                                        </p:attrNameLst>
                                      </p:cBhvr>
                                      <p:to>
                                        <p:strVal val="visible"/>
                                      </p:to>
                                    </p:set>
                                    <p:animEffect transition="in" filter="fade">
                                      <p:cBhvr>
                                        <p:cTn id="73" dur="2000"/>
                                        <p:tgtEl>
                                          <p:spTgt spid="117"/>
                                        </p:tgtEl>
                                      </p:cBhvr>
                                    </p:animEffect>
                                  </p:childTnLst>
                                </p:cTn>
                              </p:par>
                            </p:childTnLst>
                          </p:cTn>
                        </p:par>
                      </p:childTnLst>
                    </p:cTn>
                  </p:par>
                  <p:par>
                    <p:cTn id="74" fill="hold">
                      <p:stCondLst>
                        <p:cond delay="indefinite"/>
                      </p:stCondLst>
                      <p:childTnLst>
                        <p:par>
                          <p:cTn id="75" fill="hold">
                            <p:stCondLst>
                              <p:cond delay="0"/>
                            </p:stCondLst>
                            <p:childTnLst>
                              <p:par>
                                <p:cTn id="76" presetID="0" presetClass="path" presetSubtype="0" accel="50000" decel="50000" fill="hold" nodeType="clickEffect">
                                  <p:stCondLst>
                                    <p:cond delay="0"/>
                                  </p:stCondLst>
                                  <p:childTnLst>
                                    <p:animMotion origin="layout" path="M -0.00456 -0.00648 L -0.30651 0.31551 " pathEditMode="relative" rAng="0" ptsTypes="AA">
                                      <p:cBhvr>
                                        <p:cTn id="77" dur="2000" fill="hold"/>
                                        <p:tgtEl>
                                          <p:spTgt spid="117"/>
                                        </p:tgtEl>
                                        <p:attrNameLst>
                                          <p:attrName>ppt_x</p:attrName>
                                          <p:attrName>ppt_y</p:attrName>
                                        </p:attrNameLst>
                                      </p:cBhvr>
                                      <p:rCtr x="-15104" y="16088"/>
                                    </p:animMotion>
                                  </p:childTnLst>
                                </p:cTn>
                              </p:par>
                            </p:childTnLst>
                          </p:cTn>
                        </p:par>
                      </p:childTnLst>
                    </p:cTn>
                  </p:par>
                  <p:par>
                    <p:cTn id="78" fill="hold">
                      <p:stCondLst>
                        <p:cond delay="indefinite"/>
                      </p:stCondLst>
                      <p:childTnLst>
                        <p:par>
                          <p:cTn id="79" fill="hold">
                            <p:stCondLst>
                              <p:cond delay="0"/>
                            </p:stCondLst>
                            <p:childTnLst>
                              <p:par>
                                <p:cTn id="80" presetID="1" presetClass="entr" presetSubtype="0" fill="hold" grpId="0" nodeType="clickEffect">
                                  <p:stCondLst>
                                    <p:cond delay="0"/>
                                  </p:stCondLst>
                                  <p:childTnLst>
                                    <p:set>
                                      <p:cBhvr>
                                        <p:cTn id="81" dur="1" fill="hold">
                                          <p:stCondLst>
                                            <p:cond delay="0"/>
                                          </p:stCondLst>
                                        </p:cTn>
                                        <p:tgtEl>
                                          <p:spTgt spid="137"/>
                                        </p:tgtEl>
                                        <p:attrNameLst>
                                          <p:attrName>style.visibility</p:attrName>
                                        </p:attrNameLst>
                                      </p:cBhvr>
                                      <p:to>
                                        <p:strVal val="visible"/>
                                      </p:to>
                                    </p:set>
                                  </p:childTnLst>
                                </p:cTn>
                              </p:par>
                              <p:par>
                                <p:cTn id="82" presetID="10" presetClass="entr" presetSubtype="0" fill="hold" nodeType="withEffect">
                                  <p:stCondLst>
                                    <p:cond delay="0"/>
                                  </p:stCondLst>
                                  <p:childTnLst>
                                    <p:set>
                                      <p:cBhvr>
                                        <p:cTn id="83" dur="1" fill="hold">
                                          <p:stCondLst>
                                            <p:cond delay="0"/>
                                          </p:stCondLst>
                                        </p:cTn>
                                        <p:tgtEl>
                                          <p:spTgt spid="123"/>
                                        </p:tgtEl>
                                        <p:attrNameLst>
                                          <p:attrName>style.visibility</p:attrName>
                                        </p:attrNameLst>
                                      </p:cBhvr>
                                      <p:to>
                                        <p:strVal val="visible"/>
                                      </p:to>
                                    </p:set>
                                    <p:animEffect transition="in" filter="fade">
                                      <p:cBhvr>
                                        <p:cTn id="84" dur="500"/>
                                        <p:tgtEl>
                                          <p:spTgt spid="123"/>
                                        </p:tgtEl>
                                      </p:cBhvr>
                                    </p:animEffect>
                                  </p:childTnLst>
                                </p:cTn>
                              </p:par>
                              <p:par>
                                <p:cTn id="85" presetID="10" presetClass="entr" presetSubtype="0" fill="hold" nodeType="withEffect">
                                  <p:stCondLst>
                                    <p:cond delay="0"/>
                                  </p:stCondLst>
                                  <p:childTnLst>
                                    <p:set>
                                      <p:cBhvr>
                                        <p:cTn id="86" dur="1" fill="hold">
                                          <p:stCondLst>
                                            <p:cond delay="0"/>
                                          </p:stCondLst>
                                        </p:cTn>
                                        <p:tgtEl>
                                          <p:spTgt spid="129"/>
                                        </p:tgtEl>
                                        <p:attrNameLst>
                                          <p:attrName>style.visibility</p:attrName>
                                        </p:attrNameLst>
                                      </p:cBhvr>
                                      <p:to>
                                        <p:strVal val="visible"/>
                                      </p:to>
                                    </p:set>
                                    <p:animEffect transition="in" filter="fade">
                                      <p:cBhvr>
                                        <p:cTn id="87" dur="1000"/>
                                        <p:tgtEl>
                                          <p:spTgt spid="129"/>
                                        </p:tgtEl>
                                      </p:cBhvr>
                                    </p:animEffect>
                                  </p:childTnLst>
                                </p:cTn>
                              </p:par>
                              <p:par>
                                <p:cTn id="88" presetID="10" presetClass="exit" presetSubtype="0" fill="hold" nodeType="withEffect">
                                  <p:stCondLst>
                                    <p:cond delay="0"/>
                                  </p:stCondLst>
                                  <p:childTnLst>
                                    <p:animEffect transition="out" filter="fade">
                                      <p:cBhvr>
                                        <p:cTn id="89" dur="1000"/>
                                        <p:tgtEl>
                                          <p:spTgt spid="123"/>
                                        </p:tgtEl>
                                      </p:cBhvr>
                                    </p:animEffect>
                                    <p:set>
                                      <p:cBhvr>
                                        <p:cTn id="90" dur="1" fill="hold">
                                          <p:stCondLst>
                                            <p:cond delay="999"/>
                                          </p:stCondLst>
                                        </p:cTn>
                                        <p:tgtEl>
                                          <p:spTgt spid="123"/>
                                        </p:tgtEl>
                                        <p:attrNameLst>
                                          <p:attrName>style.visibility</p:attrName>
                                        </p:attrNameLst>
                                      </p:cBhvr>
                                      <p:to>
                                        <p:strVal val="hidden"/>
                                      </p:to>
                                    </p:set>
                                  </p:childTnLst>
                                </p:cTn>
                              </p:par>
                              <p:par>
                                <p:cTn id="91" presetID="1" presetClass="exit" presetSubtype="0" fill="hold" nodeType="withEffect">
                                  <p:stCondLst>
                                    <p:cond delay="0"/>
                                  </p:stCondLst>
                                  <p:childTnLst>
                                    <p:set>
                                      <p:cBhvr>
                                        <p:cTn id="92" dur="1" fill="hold">
                                          <p:stCondLst>
                                            <p:cond delay="0"/>
                                          </p:stCondLst>
                                        </p:cTn>
                                        <p:tgtEl>
                                          <p:spTgt spid="120"/>
                                        </p:tgtEl>
                                        <p:attrNameLst>
                                          <p:attrName>style.visibility</p:attrName>
                                        </p:attrNameLst>
                                      </p:cBhvr>
                                      <p:to>
                                        <p:strVal val="hidden"/>
                                      </p:to>
                                    </p:set>
                                  </p:childTnLst>
                                </p:cTn>
                              </p:par>
                              <p:par>
                                <p:cTn id="93" presetID="64" presetClass="path" presetSubtype="0" accel="50000" decel="50000" fill="hold" nodeType="withEffect">
                                  <p:stCondLst>
                                    <p:cond delay="0"/>
                                  </p:stCondLst>
                                  <p:childTnLst>
                                    <p:animMotion origin="layout" path="M 6.25E-7 -7.40741E-7 L 6.25E-7 -0.05416 " pathEditMode="relative" rAng="0" ptsTypes="AA">
                                      <p:cBhvr>
                                        <p:cTn id="94" dur="2000" fill="hold"/>
                                        <p:tgtEl>
                                          <p:spTgt spid="90"/>
                                        </p:tgtEl>
                                        <p:attrNameLst>
                                          <p:attrName>ppt_x</p:attrName>
                                          <p:attrName>ppt_y</p:attrName>
                                        </p:attrNameLst>
                                      </p:cBhvr>
                                      <p:rCtr x="0" y="-2708"/>
                                    </p:animMotion>
                                  </p:childTnLst>
                                </p:cTn>
                              </p:par>
                              <p:par>
                                <p:cTn id="95" presetID="64" presetClass="path" presetSubtype="0" accel="50000" decel="50000" fill="hold" nodeType="withEffect">
                                  <p:stCondLst>
                                    <p:cond delay="0"/>
                                  </p:stCondLst>
                                  <p:childTnLst>
                                    <p:animMotion origin="layout" path="M 6.25E-7 2.22222E-6 L 6.25E-7 -0.05578 " pathEditMode="relative" rAng="0" ptsTypes="AA">
                                      <p:cBhvr>
                                        <p:cTn id="96" dur="2000" fill="hold"/>
                                        <p:tgtEl>
                                          <p:spTgt spid="77"/>
                                        </p:tgtEl>
                                        <p:attrNameLst>
                                          <p:attrName>ppt_x</p:attrName>
                                          <p:attrName>ppt_y</p:attrName>
                                        </p:attrNameLst>
                                      </p:cBhvr>
                                      <p:rCtr x="0" y="-275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animBg="1"/>
      <p:bldP spid="134" grpId="0" animBg="1"/>
      <p:bldP spid="135" grpId="0" animBg="1"/>
      <p:bldP spid="136" grpId="0" animBg="1"/>
      <p:bldP spid="137" grpId="0" animBg="1"/>
      <p:bldP spid="138" grpId="0" animBg="1"/>
      <p:bldP spid="138" grpId="1" animBg="1"/>
      <p:bldP spid="139" grpId="0" animBg="1"/>
      <p:bldP spid="139"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ask Execution Model</a:t>
            </a:r>
          </a:p>
        </p:txBody>
      </p:sp>
      <p:sp>
        <p:nvSpPr>
          <p:cNvPr id="2" name="Text Placeholder 1"/>
          <p:cNvSpPr>
            <a:spLocks noGrp="1"/>
          </p:cNvSpPr>
          <p:nvPr>
            <p:ph sz="quarter" idx="13"/>
          </p:nvPr>
        </p:nvSpPr>
        <p:spPr/>
        <p:txBody>
          <a:bodyPr/>
          <a:lstStyle/>
          <a:p>
            <a:r>
              <a:rPr lang="en-US" dirty="0">
                <a:solidFill>
                  <a:srgbClr val="000000"/>
                </a:solidFill>
              </a:rPr>
              <a:t>The full cycle between the several task states, for how many times it needs to cycle, is what we experience as the total query response time.</a:t>
            </a:r>
          </a:p>
          <a:p>
            <a:endParaRPr lang="en-US" dirty="0">
              <a:solidFill>
                <a:srgbClr val="000000"/>
              </a:solidFill>
            </a:endParaRPr>
          </a:p>
          <a:p>
            <a:endParaRPr lang="en-US" dirty="0">
              <a:solidFill>
                <a:srgbClr val="000000"/>
              </a:solidFill>
            </a:endParaRPr>
          </a:p>
        </p:txBody>
      </p:sp>
      <p:graphicFrame>
        <p:nvGraphicFramePr>
          <p:cNvPr id="6" name="Content Placeholder 4"/>
          <p:cNvGraphicFramePr>
            <a:graphicFrameLocks/>
          </p:cNvGraphicFramePr>
          <p:nvPr>
            <p:extLst>
              <p:ext uri="{D42A27DB-BD31-4B8C-83A1-F6EECF244321}">
                <p14:modId xmlns:p14="http://schemas.microsoft.com/office/powerpoint/2010/main" val="148708774"/>
              </p:ext>
            </p:extLst>
          </p:nvPr>
        </p:nvGraphicFramePr>
        <p:xfrm>
          <a:off x="792154" y="2681979"/>
          <a:ext cx="10711966" cy="3436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9813364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a:t>Relevant Dynamic Management Views (DMVs)</a:t>
            </a:r>
            <a:endParaRPr lang="en-US"/>
          </a:p>
        </p:txBody>
      </p:sp>
      <p:graphicFrame>
        <p:nvGraphicFramePr>
          <p:cNvPr id="5" name="Content Placeholder 2"/>
          <p:cNvGraphicFramePr>
            <a:graphicFrameLocks/>
          </p:cNvGraphicFramePr>
          <p:nvPr>
            <p:extLst>
              <p:ext uri="{D42A27DB-BD31-4B8C-83A1-F6EECF244321}">
                <p14:modId xmlns:p14="http://schemas.microsoft.com/office/powerpoint/2010/main" val="270671445"/>
              </p:ext>
            </p:extLst>
          </p:nvPr>
        </p:nvGraphicFramePr>
        <p:xfrm>
          <a:off x="655635" y="1408115"/>
          <a:ext cx="10880725" cy="444627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873399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solidFill>
                  <a:schemeClr val="accent1"/>
                </a:solidFill>
              </a:rPr>
              <a:t>Waiting Tasks DMV</a:t>
            </a:r>
          </a:p>
        </p:txBody>
      </p:sp>
      <p:pic>
        <p:nvPicPr>
          <p:cNvPr id="4" name="Picture 3">
            <a:extLst>
              <a:ext uri="{FF2B5EF4-FFF2-40B4-BE49-F238E27FC236}">
                <a16:creationId xmlns:a16="http://schemas.microsoft.com/office/drawing/2014/main" id="{3C9BBB90-B461-4D36-93A8-853FD4B2395B}"/>
              </a:ext>
            </a:extLst>
          </p:cNvPr>
          <p:cNvPicPr>
            <a:picLocks noChangeAspect="1"/>
          </p:cNvPicPr>
          <p:nvPr/>
        </p:nvPicPr>
        <p:blipFill>
          <a:blip r:embed="rId4"/>
          <a:stretch>
            <a:fillRect/>
          </a:stretch>
        </p:blipFill>
        <p:spPr>
          <a:xfrm>
            <a:off x="1189898" y="1391401"/>
            <a:ext cx="9810926" cy="3524963"/>
          </a:xfrm>
          <a:prstGeom prst="rect">
            <a:avLst/>
          </a:prstGeom>
          <a:effectLst>
            <a:outerShdw blurRad="50800" dist="76200" dir="2700000" algn="tl" rotWithShape="0">
              <a:prstClr val="black">
                <a:alpha val="40000"/>
              </a:prstClr>
            </a:outerShdw>
          </a:effectLst>
        </p:spPr>
      </p:pic>
      <p:pic>
        <p:nvPicPr>
          <p:cNvPr id="7" name="Picture 6">
            <a:extLst>
              <a:ext uri="{FF2B5EF4-FFF2-40B4-BE49-F238E27FC236}">
                <a16:creationId xmlns:a16="http://schemas.microsoft.com/office/drawing/2014/main" id="{2849C14F-001B-48F3-B1F8-781720644704}"/>
              </a:ext>
            </a:extLst>
          </p:cNvPr>
          <p:cNvPicPr>
            <a:picLocks noChangeAspect="1"/>
          </p:cNvPicPr>
          <p:nvPr/>
        </p:nvPicPr>
        <p:blipFill>
          <a:blip r:embed="rId5"/>
          <a:stretch>
            <a:fillRect/>
          </a:stretch>
        </p:blipFill>
        <p:spPr>
          <a:xfrm>
            <a:off x="46916" y="5476239"/>
            <a:ext cx="12096891" cy="614334"/>
          </a:xfrm>
          <a:prstGeom prst="rect">
            <a:avLst/>
          </a:prstGeom>
          <a:ln>
            <a:solidFill>
              <a:srgbClr val="000000"/>
            </a:solidFill>
          </a:ln>
        </p:spPr>
      </p:pic>
    </p:spTree>
    <p:custDataLst>
      <p:tags r:id="rId1"/>
    </p:custDataLst>
    <p:extLst>
      <p:ext uri="{BB962C8B-B14F-4D97-AF65-F5344CB8AC3E}">
        <p14:creationId xmlns:p14="http://schemas.microsoft.com/office/powerpoint/2010/main" val="20143692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204" y="295252"/>
            <a:ext cx="10971244" cy="1142838"/>
          </a:xfrm>
        </p:spPr>
        <p:txBody>
          <a:bodyPr/>
          <a:lstStyle/>
          <a:p>
            <a:r>
              <a:rPr lang="en-GB" dirty="0"/>
              <a:t>Troubleshooting Wait Types</a:t>
            </a:r>
          </a:p>
        </p:txBody>
      </p:sp>
      <p:graphicFrame>
        <p:nvGraphicFramePr>
          <p:cNvPr id="6" name="Diagram 5">
            <a:extLst>
              <a:ext uri="{FF2B5EF4-FFF2-40B4-BE49-F238E27FC236}">
                <a16:creationId xmlns:a16="http://schemas.microsoft.com/office/drawing/2014/main" id="{3B4C1370-BA18-468B-80AB-324E17F97302}"/>
              </a:ext>
            </a:extLst>
          </p:cNvPr>
          <p:cNvGraphicFramePr/>
          <p:nvPr/>
        </p:nvGraphicFramePr>
        <p:xfrm>
          <a:off x="230931" y="1396421"/>
          <a:ext cx="8903719" cy="41075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a:extLst>
              <a:ext uri="{FF2B5EF4-FFF2-40B4-BE49-F238E27FC236}">
                <a16:creationId xmlns:a16="http://schemas.microsoft.com/office/drawing/2014/main" id="{D4FBC61C-1601-4191-8431-2373C0FC274D}"/>
              </a:ext>
            </a:extLst>
          </p:cNvPr>
          <p:cNvPicPr>
            <a:picLocks noChangeAspect="1"/>
          </p:cNvPicPr>
          <p:nvPr/>
        </p:nvPicPr>
        <p:blipFill>
          <a:blip r:embed="rId8"/>
          <a:stretch>
            <a:fillRect/>
          </a:stretch>
        </p:blipFill>
        <p:spPr>
          <a:xfrm>
            <a:off x="9459006" y="1728850"/>
            <a:ext cx="2533283" cy="3442666"/>
          </a:xfrm>
          <a:prstGeom prst="rect">
            <a:avLst/>
          </a:prstGeom>
          <a:ln w="57150">
            <a:solidFill>
              <a:schemeClr val="accent4">
                <a:lumMod val="75000"/>
              </a:schemeClr>
            </a:solidFill>
          </a:ln>
        </p:spPr>
      </p:pic>
    </p:spTree>
    <p:extLst>
      <p:ext uri="{BB962C8B-B14F-4D97-AF65-F5344CB8AC3E}">
        <p14:creationId xmlns:p14="http://schemas.microsoft.com/office/powerpoint/2010/main" val="28744861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3: SQL Server Disk I/O</a:t>
            </a:r>
          </a:p>
        </p:txBody>
      </p:sp>
    </p:spTree>
    <p:extLst>
      <p:ext uri="{BB962C8B-B14F-4D97-AF65-F5344CB8AC3E}">
        <p14:creationId xmlns:p14="http://schemas.microsoft.com/office/powerpoint/2010/main" val="6053069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disk I/O patterns:</a:t>
            </a:r>
          </a:p>
        </p:txBody>
      </p:sp>
      <p:graphicFrame>
        <p:nvGraphicFramePr>
          <p:cNvPr id="5" name="Content Placeholder 4">
            <a:extLst>
              <a:ext uri="{FF2B5EF4-FFF2-40B4-BE49-F238E27FC236}">
                <a16:creationId xmlns:a16="http://schemas.microsoft.com/office/drawing/2014/main" id="{7BF6B113-9D4C-4D94-9A53-DD369DA9457A}"/>
              </a:ext>
            </a:extLst>
          </p:cNvPr>
          <p:cNvGraphicFramePr>
            <a:graphicFrameLocks noGrp="1"/>
          </p:cNvGraphicFramePr>
          <p:nvPr>
            <p:ph sz="quarter" idx="13"/>
          </p:nvPr>
        </p:nvGraphicFramePr>
        <p:xfrm>
          <a:off x="655637" y="908492"/>
          <a:ext cx="10880726" cy="56294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538307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Introduction to SQL Operating System</a:t>
            </a:r>
          </a:p>
          <a:p>
            <a:r>
              <a:rPr lang="en-US" dirty="0"/>
              <a:t>Lesson 2: SQL Server Waits and Queues</a:t>
            </a:r>
          </a:p>
          <a:p>
            <a:r>
              <a:rPr lang="en-US" dirty="0"/>
              <a:t>Lesson 3: SQL Server Disk I/O</a:t>
            </a:r>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Disk I/O (Write-Ahead Logging)</a:t>
            </a:r>
          </a:p>
        </p:txBody>
      </p:sp>
      <p:sp>
        <p:nvSpPr>
          <p:cNvPr id="42" name="TextBox 41">
            <a:extLst>
              <a:ext uri="{FF2B5EF4-FFF2-40B4-BE49-F238E27FC236}">
                <a16:creationId xmlns:a16="http://schemas.microsoft.com/office/drawing/2014/main" id="{58EDF11B-70B2-4486-9590-B12FF615814E}"/>
              </a:ext>
            </a:extLst>
          </p:cNvPr>
          <p:cNvSpPr txBox="1"/>
          <p:nvPr/>
        </p:nvSpPr>
        <p:spPr>
          <a:xfrm>
            <a:off x="634161" y="4286712"/>
            <a:ext cx="2996159" cy="668679"/>
          </a:xfrm>
          <a:prstGeom prst="rect">
            <a:avLst/>
          </a:prstGeom>
          <a:noFill/>
        </p:spPr>
        <p:txBody>
          <a:bodyPr wrap="square" rtlCol="0">
            <a:sp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black"/>
                </a:solidFill>
                <a:effectLst/>
                <a:uLnTx/>
                <a:uFillTx/>
                <a:latin typeface="Segoe UI"/>
                <a:ea typeface="+mn-ea"/>
                <a:cs typeface="+mn-cs"/>
              </a:rPr>
              <a:t>2. Modification is recorded in the log cache.</a:t>
            </a:r>
          </a:p>
        </p:txBody>
      </p:sp>
      <p:sp>
        <p:nvSpPr>
          <p:cNvPr id="43" name="TextBox 42">
            <a:extLst>
              <a:ext uri="{FF2B5EF4-FFF2-40B4-BE49-F238E27FC236}">
                <a16:creationId xmlns:a16="http://schemas.microsoft.com/office/drawing/2014/main" id="{C73F1613-991E-4D24-B83E-D8CBE83F64D7}"/>
              </a:ext>
            </a:extLst>
          </p:cNvPr>
          <p:cNvSpPr txBox="1"/>
          <p:nvPr/>
        </p:nvSpPr>
        <p:spPr>
          <a:xfrm>
            <a:off x="9147805" y="4759358"/>
            <a:ext cx="3043331" cy="939873"/>
          </a:xfrm>
          <a:prstGeom prst="rect">
            <a:avLst/>
          </a:prstGeom>
          <a:noFill/>
        </p:spPr>
        <p:txBody>
          <a:bodyPr wrap="square" rtlCol="0">
            <a:sp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black"/>
                </a:solidFill>
                <a:effectLst/>
                <a:uLnTx/>
                <a:uFillTx/>
                <a:latin typeface="Segoe UI"/>
                <a:ea typeface="+mn-ea"/>
                <a:cs typeface="+mn-cs"/>
              </a:rPr>
              <a:t>5. At checkpoint, dirty data pages are written to the database file.</a:t>
            </a:r>
          </a:p>
        </p:txBody>
      </p:sp>
      <p:sp>
        <p:nvSpPr>
          <p:cNvPr id="44" name="Rounded Rectangle 8">
            <a:extLst>
              <a:ext uri="{FF2B5EF4-FFF2-40B4-BE49-F238E27FC236}">
                <a16:creationId xmlns:a16="http://schemas.microsoft.com/office/drawing/2014/main" id="{8D11A120-5C09-489D-9D90-7BDAB6DFE3A9}"/>
              </a:ext>
            </a:extLst>
          </p:cNvPr>
          <p:cNvSpPr/>
          <p:nvPr/>
        </p:nvSpPr>
        <p:spPr>
          <a:xfrm>
            <a:off x="361617" y="1424958"/>
            <a:ext cx="5049031" cy="1443084"/>
          </a:xfrm>
          <a:prstGeom prst="roundRect">
            <a:avLst/>
          </a:prstGeom>
          <a:solidFill>
            <a:sysClr val="window" lastClr="FFFFFF"/>
          </a:solidFill>
          <a:ln w="25400" cap="flat" cmpd="sng" algn="ctr">
            <a:solidFill>
              <a:srgbClr val="2098D5">
                <a:lumMod val="50000"/>
              </a:srgbClr>
            </a:solidFill>
            <a:prstDash val="solid"/>
          </a:ln>
          <a:effectLst/>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45" name="TextBox 44">
            <a:extLst>
              <a:ext uri="{FF2B5EF4-FFF2-40B4-BE49-F238E27FC236}">
                <a16:creationId xmlns:a16="http://schemas.microsoft.com/office/drawing/2014/main" id="{80DE7D8D-DB3B-48F8-B54B-10FD4E40E31C}"/>
              </a:ext>
            </a:extLst>
          </p:cNvPr>
          <p:cNvSpPr txBox="1"/>
          <p:nvPr/>
        </p:nvSpPr>
        <p:spPr>
          <a:xfrm>
            <a:off x="634161" y="3188777"/>
            <a:ext cx="3205954" cy="657359"/>
          </a:xfrm>
          <a:prstGeom prst="rect">
            <a:avLst/>
          </a:prstGeom>
          <a:noFill/>
        </p:spPr>
        <p:txBody>
          <a:bodyPr wrap="square" rtlCol="0">
            <a:sp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black"/>
                </a:solidFill>
                <a:effectLst/>
                <a:uLnTx/>
                <a:uFillTx/>
                <a:latin typeface="Segoe UI"/>
                <a:ea typeface="+mn-ea"/>
                <a:cs typeface="+mn-cs"/>
              </a:rPr>
              <a:t>1. Data modification is sent to buffer cache in memory.</a:t>
            </a:r>
          </a:p>
        </p:txBody>
      </p:sp>
      <p:sp>
        <p:nvSpPr>
          <p:cNvPr id="46" name="TextBox 45">
            <a:extLst>
              <a:ext uri="{FF2B5EF4-FFF2-40B4-BE49-F238E27FC236}">
                <a16:creationId xmlns:a16="http://schemas.microsoft.com/office/drawing/2014/main" id="{89494341-EBD5-4627-9F76-12CF240D07E3}"/>
              </a:ext>
            </a:extLst>
          </p:cNvPr>
          <p:cNvSpPr txBox="1"/>
          <p:nvPr/>
        </p:nvSpPr>
        <p:spPr>
          <a:xfrm>
            <a:off x="641543" y="5370193"/>
            <a:ext cx="3205954" cy="939873"/>
          </a:xfrm>
          <a:prstGeom prst="rect">
            <a:avLst/>
          </a:prstGeom>
          <a:noFill/>
        </p:spPr>
        <p:txBody>
          <a:bodyPr wrap="square" rtlCol="0">
            <a:sp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black"/>
                </a:solidFill>
                <a:effectLst/>
                <a:uLnTx/>
                <a:uFillTx/>
                <a:latin typeface="Segoe UI"/>
                <a:ea typeface="+mn-ea"/>
                <a:cs typeface="+mn-cs"/>
              </a:rPr>
              <a:t>3. Data pages are located or read into the buffer cache and then modified.</a:t>
            </a:r>
          </a:p>
        </p:txBody>
      </p:sp>
      <p:sp>
        <p:nvSpPr>
          <p:cNvPr id="47" name="TextBox 46">
            <a:extLst>
              <a:ext uri="{FF2B5EF4-FFF2-40B4-BE49-F238E27FC236}">
                <a16:creationId xmlns:a16="http://schemas.microsoft.com/office/drawing/2014/main" id="{151FF534-AE55-4F20-B962-77543B80AF1A}"/>
              </a:ext>
            </a:extLst>
          </p:cNvPr>
          <p:cNvSpPr txBox="1"/>
          <p:nvPr/>
        </p:nvSpPr>
        <p:spPr>
          <a:xfrm>
            <a:off x="7213094" y="3248460"/>
            <a:ext cx="3396451" cy="668679"/>
          </a:xfrm>
          <a:prstGeom prst="rect">
            <a:avLst/>
          </a:prstGeom>
          <a:noFill/>
        </p:spPr>
        <p:txBody>
          <a:bodyPr wrap="square" rtlCol="0">
            <a:sp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black"/>
                </a:solidFill>
                <a:effectLst/>
                <a:uLnTx/>
                <a:uFillTx/>
                <a:latin typeface="Segoe UI"/>
                <a:ea typeface="+mn-ea"/>
                <a:cs typeface="+mn-cs"/>
              </a:rPr>
              <a:t>4. Log cache record is flushed to the transaction log</a:t>
            </a:r>
          </a:p>
        </p:txBody>
      </p:sp>
      <p:cxnSp>
        <p:nvCxnSpPr>
          <p:cNvPr id="49" name="Straight Arrow Connector 48">
            <a:extLst>
              <a:ext uri="{FF2B5EF4-FFF2-40B4-BE49-F238E27FC236}">
                <a16:creationId xmlns:a16="http://schemas.microsoft.com/office/drawing/2014/main" id="{FF810BAB-96B9-4191-94A6-911153B3D3D3}"/>
              </a:ext>
            </a:extLst>
          </p:cNvPr>
          <p:cNvCxnSpPr>
            <a:cxnSpLocks/>
          </p:cNvCxnSpPr>
          <p:nvPr/>
        </p:nvCxnSpPr>
        <p:spPr>
          <a:xfrm>
            <a:off x="5893544" y="5405707"/>
            <a:ext cx="1542744" cy="3830"/>
          </a:xfrm>
          <a:prstGeom prst="straightConnector1">
            <a:avLst/>
          </a:prstGeom>
          <a:noFill/>
          <a:ln w="57150" cap="flat" cmpd="sng" algn="ctr">
            <a:solidFill>
              <a:srgbClr val="EF3B24"/>
            </a:solidFill>
            <a:prstDash val="solid"/>
            <a:tailEnd type="triangle"/>
          </a:ln>
          <a:effectLst/>
        </p:spPr>
      </p:cxnSp>
      <p:cxnSp>
        <p:nvCxnSpPr>
          <p:cNvPr id="50" name="Straight Arrow Connector 49">
            <a:extLst>
              <a:ext uri="{FF2B5EF4-FFF2-40B4-BE49-F238E27FC236}">
                <a16:creationId xmlns:a16="http://schemas.microsoft.com/office/drawing/2014/main" id="{041387EF-DB9D-451C-8EFB-74F9BDBB7D2A}"/>
              </a:ext>
            </a:extLst>
          </p:cNvPr>
          <p:cNvCxnSpPr>
            <a:cxnSpLocks/>
          </p:cNvCxnSpPr>
          <p:nvPr/>
        </p:nvCxnSpPr>
        <p:spPr>
          <a:xfrm flipH="1">
            <a:off x="5893544" y="4824880"/>
            <a:ext cx="1448889" cy="0"/>
          </a:xfrm>
          <a:prstGeom prst="straightConnector1">
            <a:avLst/>
          </a:prstGeom>
          <a:noFill/>
          <a:ln w="57150" cap="flat" cmpd="sng" algn="ctr">
            <a:solidFill>
              <a:srgbClr val="EF3B24"/>
            </a:solidFill>
            <a:prstDash val="solid"/>
            <a:tailEnd type="triangle"/>
          </a:ln>
          <a:effectLst/>
        </p:spPr>
      </p:cxnSp>
      <p:cxnSp>
        <p:nvCxnSpPr>
          <p:cNvPr id="51" name="Straight Arrow Connector 50">
            <a:extLst>
              <a:ext uri="{FF2B5EF4-FFF2-40B4-BE49-F238E27FC236}">
                <a16:creationId xmlns:a16="http://schemas.microsoft.com/office/drawing/2014/main" id="{BF9E7A5F-14E3-4D2D-9F7F-E714EB7AEAE4}"/>
              </a:ext>
            </a:extLst>
          </p:cNvPr>
          <p:cNvCxnSpPr>
            <a:cxnSpLocks/>
          </p:cNvCxnSpPr>
          <p:nvPr/>
        </p:nvCxnSpPr>
        <p:spPr>
          <a:xfrm flipV="1">
            <a:off x="5706274" y="2967918"/>
            <a:ext cx="1441431" cy="1183106"/>
          </a:xfrm>
          <a:prstGeom prst="straightConnector1">
            <a:avLst/>
          </a:prstGeom>
          <a:noFill/>
          <a:ln w="57150" cap="flat" cmpd="sng" algn="ctr">
            <a:solidFill>
              <a:srgbClr val="EF3B24"/>
            </a:solidFill>
            <a:prstDash val="solid"/>
            <a:tailEnd type="triangle"/>
          </a:ln>
          <a:effectLst/>
        </p:spPr>
      </p:cxnSp>
      <p:sp>
        <p:nvSpPr>
          <p:cNvPr id="52" name="Rectangle 51">
            <a:extLst>
              <a:ext uri="{FF2B5EF4-FFF2-40B4-BE49-F238E27FC236}">
                <a16:creationId xmlns:a16="http://schemas.microsoft.com/office/drawing/2014/main" id="{DA4476B5-562C-457F-B7C9-D598005C6461}"/>
              </a:ext>
            </a:extLst>
          </p:cNvPr>
          <p:cNvSpPr/>
          <p:nvPr/>
        </p:nvSpPr>
        <p:spPr>
          <a:xfrm>
            <a:off x="4113595" y="3284798"/>
            <a:ext cx="361591" cy="478308"/>
          </a:xfrm>
          <a:prstGeom prst="rect">
            <a:avLst/>
          </a:prstGeom>
          <a:noFill/>
        </p:spPr>
        <p:txBody>
          <a:bodyPr wrap="none" lIns="93247" tIns="46623" rIns="93247" bIns="46623">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w="0"/>
                <a:solidFill>
                  <a:prstClr val="black"/>
                </a:solidFill>
                <a:effectLst>
                  <a:outerShdw blurRad="38100" dist="25400" dir="5400000" algn="ctr" rotWithShape="0">
                    <a:srgbClr val="6E747A">
                      <a:alpha val="43000"/>
                    </a:srgbClr>
                  </a:outerShdw>
                </a:effectLst>
                <a:uLnTx/>
                <a:uFillTx/>
                <a:latin typeface="Segoe UI"/>
                <a:ea typeface="+mn-ea"/>
                <a:cs typeface="+mn-cs"/>
              </a:rPr>
              <a:t>1</a:t>
            </a:r>
          </a:p>
        </p:txBody>
      </p:sp>
      <p:sp>
        <p:nvSpPr>
          <p:cNvPr id="53" name="Rectangle 52">
            <a:extLst>
              <a:ext uri="{FF2B5EF4-FFF2-40B4-BE49-F238E27FC236}">
                <a16:creationId xmlns:a16="http://schemas.microsoft.com/office/drawing/2014/main" id="{CA08C041-55D8-448B-9A77-8E8819947002}"/>
              </a:ext>
            </a:extLst>
          </p:cNvPr>
          <p:cNvSpPr/>
          <p:nvPr/>
        </p:nvSpPr>
        <p:spPr>
          <a:xfrm>
            <a:off x="6484208" y="4359248"/>
            <a:ext cx="361415" cy="478376"/>
          </a:xfrm>
          <a:prstGeom prst="rect">
            <a:avLst/>
          </a:prstGeom>
          <a:noFill/>
        </p:spPr>
        <p:txBody>
          <a:bodyPr wrap="none" lIns="93247" tIns="46623" rIns="93247" bIns="46623">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w="0"/>
                <a:solidFill>
                  <a:prstClr val="black"/>
                </a:solidFill>
                <a:effectLst>
                  <a:outerShdw blurRad="38100" dist="25400" dir="5400000" algn="ctr" rotWithShape="0">
                    <a:srgbClr val="6E747A">
                      <a:alpha val="43000"/>
                    </a:srgbClr>
                  </a:outerShdw>
                </a:effectLst>
                <a:uLnTx/>
                <a:uFillTx/>
                <a:latin typeface="Segoe UI"/>
                <a:ea typeface="+mn-ea"/>
                <a:cs typeface="+mn-cs"/>
              </a:rPr>
              <a:t>3</a:t>
            </a:r>
          </a:p>
        </p:txBody>
      </p:sp>
      <p:sp>
        <p:nvSpPr>
          <p:cNvPr id="54" name="Rectangle 53">
            <a:extLst>
              <a:ext uri="{FF2B5EF4-FFF2-40B4-BE49-F238E27FC236}">
                <a16:creationId xmlns:a16="http://schemas.microsoft.com/office/drawing/2014/main" id="{D4D403BD-9984-4002-A43A-FAC9B99F4871}"/>
              </a:ext>
            </a:extLst>
          </p:cNvPr>
          <p:cNvSpPr/>
          <p:nvPr/>
        </p:nvSpPr>
        <p:spPr>
          <a:xfrm>
            <a:off x="5079823" y="3258266"/>
            <a:ext cx="361415" cy="478376"/>
          </a:xfrm>
          <a:prstGeom prst="rect">
            <a:avLst/>
          </a:prstGeom>
          <a:noFill/>
        </p:spPr>
        <p:txBody>
          <a:bodyPr wrap="none" lIns="93247" tIns="46623" rIns="93247" bIns="46623">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w="0"/>
                <a:solidFill>
                  <a:prstClr val="black"/>
                </a:solidFill>
                <a:effectLst>
                  <a:outerShdw blurRad="38100" dist="25400" dir="5400000" algn="ctr" rotWithShape="0">
                    <a:srgbClr val="6E747A">
                      <a:alpha val="43000"/>
                    </a:srgbClr>
                  </a:outerShdw>
                </a:effectLst>
                <a:uLnTx/>
                <a:uFillTx/>
                <a:latin typeface="Segoe UI"/>
                <a:ea typeface="+mn-ea"/>
                <a:cs typeface="+mn-cs"/>
              </a:rPr>
              <a:t>2</a:t>
            </a:r>
          </a:p>
        </p:txBody>
      </p:sp>
      <p:sp>
        <p:nvSpPr>
          <p:cNvPr id="55" name="Rectangle 54">
            <a:extLst>
              <a:ext uri="{FF2B5EF4-FFF2-40B4-BE49-F238E27FC236}">
                <a16:creationId xmlns:a16="http://schemas.microsoft.com/office/drawing/2014/main" id="{C0847374-A542-41DD-9FE7-689A197F5D07}"/>
              </a:ext>
            </a:extLst>
          </p:cNvPr>
          <p:cNvSpPr/>
          <p:nvPr/>
        </p:nvSpPr>
        <p:spPr>
          <a:xfrm>
            <a:off x="6084131" y="3012704"/>
            <a:ext cx="361591" cy="478308"/>
          </a:xfrm>
          <a:prstGeom prst="rect">
            <a:avLst/>
          </a:prstGeom>
          <a:noFill/>
        </p:spPr>
        <p:txBody>
          <a:bodyPr wrap="none" lIns="93247" tIns="46623" rIns="93247" bIns="46623">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w="0"/>
                <a:solidFill>
                  <a:prstClr val="black"/>
                </a:solidFill>
                <a:effectLst>
                  <a:outerShdw blurRad="38100" dist="25400" dir="5400000" algn="ctr" rotWithShape="0">
                    <a:srgbClr val="6E747A">
                      <a:alpha val="43000"/>
                    </a:srgbClr>
                  </a:outerShdw>
                </a:effectLst>
                <a:uLnTx/>
                <a:uFillTx/>
                <a:latin typeface="Segoe UI"/>
                <a:ea typeface="+mn-ea"/>
                <a:cs typeface="+mn-cs"/>
              </a:rPr>
              <a:t>4</a:t>
            </a:r>
          </a:p>
        </p:txBody>
      </p:sp>
      <p:sp>
        <p:nvSpPr>
          <p:cNvPr id="56" name="Rectangle 55">
            <a:extLst>
              <a:ext uri="{FF2B5EF4-FFF2-40B4-BE49-F238E27FC236}">
                <a16:creationId xmlns:a16="http://schemas.microsoft.com/office/drawing/2014/main" id="{7EBE9456-B0AC-4E32-ACAA-D59285BCF54E}"/>
              </a:ext>
            </a:extLst>
          </p:cNvPr>
          <p:cNvSpPr/>
          <p:nvPr/>
        </p:nvSpPr>
        <p:spPr>
          <a:xfrm>
            <a:off x="6440067" y="5514417"/>
            <a:ext cx="361591" cy="478308"/>
          </a:xfrm>
          <a:prstGeom prst="rect">
            <a:avLst/>
          </a:prstGeom>
          <a:noFill/>
        </p:spPr>
        <p:txBody>
          <a:bodyPr wrap="none" lIns="93247" tIns="46623" rIns="93247" bIns="46623">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w="0"/>
                <a:solidFill>
                  <a:prstClr val="black"/>
                </a:solidFill>
                <a:effectLst>
                  <a:outerShdw blurRad="38100" dist="25400" dir="5400000" algn="ctr" rotWithShape="0">
                    <a:srgbClr val="6E747A">
                      <a:alpha val="43000"/>
                    </a:srgbClr>
                  </a:outerShdw>
                </a:effectLst>
                <a:uLnTx/>
                <a:uFillTx/>
                <a:latin typeface="Segoe UI"/>
                <a:ea typeface="+mn-ea"/>
                <a:cs typeface="+mn-cs"/>
              </a:rPr>
              <a:t>5</a:t>
            </a:r>
          </a:p>
        </p:txBody>
      </p:sp>
      <p:pic>
        <p:nvPicPr>
          <p:cNvPr id="57" name="Picture 56">
            <a:extLst>
              <a:ext uri="{FF2B5EF4-FFF2-40B4-BE49-F238E27FC236}">
                <a16:creationId xmlns:a16="http://schemas.microsoft.com/office/drawing/2014/main" id="{43AC5A54-EBE6-40B8-A612-386A988C136A}"/>
              </a:ext>
            </a:extLst>
          </p:cNvPr>
          <p:cNvPicPr>
            <a:picLocks noChangeAspect="1"/>
          </p:cNvPicPr>
          <p:nvPr/>
        </p:nvPicPr>
        <p:blipFill>
          <a:blip r:embed="rId3"/>
          <a:stretch>
            <a:fillRect/>
          </a:stretch>
        </p:blipFill>
        <p:spPr>
          <a:xfrm>
            <a:off x="761660" y="1536972"/>
            <a:ext cx="4239647" cy="1233581"/>
          </a:xfrm>
          <a:prstGeom prst="rect">
            <a:avLst/>
          </a:prstGeom>
        </p:spPr>
      </p:pic>
      <p:grpSp>
        <p:nvGrpSpPr>
          <p:cNvPr id="58" name="Group 57">
            <a:extLst>
              <a:ext uri="{FF2B5EF4-FFF2-40B4-BE49-F238E27FC236}">
                <a16:creationId xmlns:a16="http://schemas.microsoft.com/office/drawing/2014/main" id="{25D278F0-04C0-4941-BF5A-CC42C3B27641}"/>
              </a:ext>
            </a:extLst>
          </p:cNvPr>
          <p:cNvGrpSpPr/>
          <p:nvPr/>
        </p:nvGrpSpPr>
        <p:grpSpPr>
          <a:xfrm>
            <a:off x="7581388" y="4511374"/>
            <a:ext cx="1421318" cy="1577822"/>
            <a:chOff x="4963829" y="4298078"/>
            <a:chExt cx="1393773" cy="1547244"/>
          </a:xfrm>
        </p:grpSpPr>
        <p:sp>
          <p:nvSpPr>
            <p:cNvPr id="59" name="Cylinder 58">
              <a:extLst>
                <a:ext uri="{FF2B5EF4-FFF2-40B4-BE49-F238E27FC236}">
                  <a16:creationId xmlns:a16="http://schemas.microsoft.com/office/drawing/2014/main" id="{F14D23F6-01E4-4CD2-96DF-A8D60C28CD0A}"/>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60" name="Cylinder 59">
              <a:extLst>
                <a:ext uri="{FF2B5EF4-FFF2-40B4-BE49-F238E27FC236}">
                  <a16:creationId xmlns:a16="http://schemas.microsoft.com/office/drawing/2014/main" id="{2B321139-4C1D-4DF8-8D9C-B0B3F4A3A21A}"/>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61" name="Cylinder 60">
              <a:extLst>
                <a:ext uri="{FF2B5EF4-FFF2-40B4-BE49-F238E27FC236}">
                  <a16:creationId xmlns:a16="http://schemas.microsoft.com/office/drawing/2014/main" id="{4C8EE044-29C5-479A-92C6-40BCBE230F0C}"/>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62" name="Group 61">
            <a:extLst>
              <a:ext uri="{FF2B5EF4-FFF2-40B4-BE49-F238E27FC236}">
                <a16:creationId xmlns:a16="http://schemas.microsoft.com/office/drawing/2014/main" id="{028D22DA-AEC8-435D-A6D7-ACC959EA57D8}"/>
              </a:ext>
            </a:extLst>
          </p:cNvPr>
          <p:cNvGrpSpPr/>
          <p:nvPr/>
        </p:nvGrpSpPr>
        <p:grpSpPr>
          <a:xfrm>
            <a:off x="7454411" y="1178878"/>
            <a:ext cx="1675267" cy="1714606"/>
            <a:chOff x="7739357" y="1288477"/>
            <a:chExt cx="1675505" cy="1714849"/>
          </a:xfrm>
        </p:grpSpPr>
        <p:sp>
          <p:nvSpPr>
            <p:cNvPr id="63" name="Scroll: Vertical 62">
              <a:extLst>
                <a:ext uri="{FF2B5EF4-FFF2-40B4-BE49-F238E27FC236}">
                  <a16:creationId xmlns:a16="http://schemas.microsoft.com/office/drawing/2014/main" id="{0FC0C9DA-2583-434C-9E8D-E44A77F97C38}"/>
                </a:ext>
              </a:extLst>
            </p:cNvPr>
            <p:cNvSpPr/>
            <p:nvPr/>
          </p:nvSpPr>
          <p:spPr>
            <a:xfrm rot="10800000">
              <a:off x="7739357" y="1288477"/>
              <a:ext cx="1675505" cy="1714849"/>
            </a:xfrm>
            <a:prstGeom prst="verticalScroll">
              <a:avLst/>
            </a:prstGeom>
            <a:solidFill>
              <a:sysClr val="window" lastClr="FFFFFF"/>
            </a:solidFill>
            <a:ln w="25400" cap="flat" cmpd="sng" algn="ctr">
              <a:solidFill>
                <a:srgbClr val="2098D5">
                  <a:lumMod val="50000"/>
                </a:srgbClr>
              </a:solidFill>
              <a:prstDash val="solid"/>
            </a:ln>
            <a:effectLst/>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cxnSp>
          <p:nvCxnSpPr>
            <p:cNvPr id="64" name="Straight Connector 63">
              <a:extLst>
                <a:ext uri="{FF2B5EF4-FFF2-40B4-BE49-F238E27FC236}">
                  <a16:creationId xmlns:a16="http://schemas.microsoft.com/office/drawing/2014/main" id="{B444335C-F41E-44EE-8E09-B709F2FDBA5B}"/>
                </a:ext>
              </a:extLst>
            </p:cNvPr>
            <p:cNvCxnSpPr>
              <a:cxnSpLocks/>
            </p:cNvCxnSpPr>
            <p:nvPr/>
          </p:nvCxnSpPr>
          <p:spPr>
            <a:xfrm>
              <a:off x="8044496" y="1560036"/>
              <a:ext cx="1065225" cy="0"/>
            </a:xfrm>
            <a:prstGeom prst="line">
              <a:avLst/>
            </a:prstGeom>
            <a:noFill/>
            <a:ln w="38100" cap="flat" cmpd="sng" algn="ctr">
              <a:solidFill>
                <a:srgbClr val="2098D5">
                  <a:lumMod val="75000"/>
                </a:srgbClr>
              </a:solidFill>
              <a:prstDash val="solid"/>
            </a:ln>
            <a:effectLst/>
          </p:spPr>
        </p:cxnSp>
        <p:cxnSp>
          <p:nvCxnSpPr>
            <p:cNvPr id="65" name="Straight Connector 64">
              <a:extLst>
                <a:ext uri="{FF2B5EF4-FFF2-40B4-BE49-F238E27FC236}">
                  <a16:creationId xmlns:a16="http://schemas.microsoft.com/office/drawing/2014/main" id="{C8FEA425-B9F4-4E75-8EF5-8A327E2BA5E3}"/>
                </a:ext>
              </a:extLst>
            </p:cNvPr>
            <p:cNvCxnSpPr>
              <a:cxnSpLocks/>
            </p:cNvCxnSpPr>
            <p:nvPr/>
          </p:nvCxnSpPr>
          <p:spPr>
            <a:xfrm>
              <a:off x="8044496" y="1735069"/>
              <a:ext cx="1065225" cy="0"/>
            </a:xfrm>
            <a:prstGeom prst="line">
              <a:avLst/>
            </a:prstGeom>
            <a:noFill/>
            <a:ln w="38100" cap="flat" cmpd="sng" algn="ctr">
              <a:solidFill>
                <a:srgbClr val="2098D5">
                  <a:lumMod val="75000"/>
                </a:srgbClr>
              </a:solidFill>
              <a:prstDash val="solid"/>
            </a:ln>
            <a:effectLst/>
          </p:spPr>
        </p:cxnSp>
        <p:cxnSp>
          <p:nvCxnSpPr>
            <p:cNvPr id="66" name="Straight Connector 65">
              <a:extLst>
                <a:ext uri="{FF2B5EF4-FFF2-40B4-BE49-F238E27FC236}">
                  <a16:creationId xmlns:a16="http://schemas.microsoft.com/office/drawing/2014/main" id="{36B6B7AB-D97F-47D5-95E0-4C9439477046}"/>
                </a:ext>
              </a:extLst>
            </p:cNvPr>
            <p:cNvCxnSpPr>
              <a:cxnSpLocks/>
            </p:cNvCxnSpPr>
            <p:nvPr/>
          </p:nvCxnSpPr>
          <p:spPr>
            <a:xfrm>
              <a:off x="8044496" y="1910101"/>
              <a:ext cx="1065225" cy="0"/>
            </a:xfrm>
            <a:prstGeom prst="line">
              <a:avLst/>
            </a:prstGeom>
            <a:noFill/>
            <a:ln w="38100" cap="flat" cmpd="sng" algn="ctr">
              <a:solidFill>
                <a:srgbClr val="2098D5">
                  <a:lumMod val="75000"/>
                </a:srgbClr>
              </a:solidFill>
              <a:prstDash val="solid"/>
            </a:ln>
            <a:effectLst/>
          </p:spPr>
        </p:cxnSp>
        <p:cxnSp>
          <p:nvCxnSpPr>
            <p:cNvPr id="67" name="Straight Connector 66">
              <a:extLst>
                <a:ext uri="{FF2B5EF4-FFF2-40B4-BE49-F238E27FC236}">
                  <a16:creationId xmlns:a16="http://schemas.microsoft.com/office/drawing/2014/main" id="{08F459B7-C16A-4C8C-9AD1-E6E48FA02422}"/>
                </a:ext>
              </a:extLst>
            </p:cNvPr>
            <p:cNvCxnSpPr>
              <a:cxnSpLocks/>
            </p:cNvCxnSpPr>
            <p:nvPr/>
          </p:nvCxnSpPr>
          <p:spPr>
            <a:xfrm>
              <a:off x="8044496" y="2085133"/>
              <a:ext cx="1065225" cy="0"/>
            </a:xfrm>
            <a:prstGeom prst="line">
              <a:avLst/>
            </a:prstGeom>
            <a:noFill/>
            <a:ln w="38100" cap="flat" cmpd="sng" algn="ctr">
              <a:solidFill>
                <a:srgbClr val="2098D5">
                  <a:lumMod val="75000"/>
                </a:srgbClr>
              </a:solidFill>
              <a:prstDash val="solid"/>
            </a:ln>
            <a:effectLst/>
          </p:spPr>
        </p:cxnSp>
        <p:cxnSp>
          <p:nvCxnSpPr>
            <p:cNvPr id="68" name="Straight Connector 67">
              <a:extLst>
                <a:ext uri="{FF2B5EF4-FFF2-40B4-BE49-F238E27FC236}">
                  <a16:creationId xmlns:a16="http://schemas.microsoft.com/office/drawing/2014/main" id="{C7BEB7DF-687A-48BA-A0BB-036925AC3601}"/>
                </a:ext>
              </a:extLst>
            </p:cNvPr>
            <p:cNvCxnSpPr>
              <a:cxnSpLocks/>
            </p:cNvCxnSpPr>
            <p:nvPr/>
          </p:nvCxnSpPr>
          <p:spPr>
            <a:xfrm>
              <a:off x="8044496" y="2260166"/>
              <a:ext cx="1065225" cy="0"/>
            </a:xfrm>
            <a:prstGeom prst="line">
              <a:avLst/>
            </a:prstGeom>
            <a:noFill/>
            <a:ln w="38100" cap="flat" cmpd="sng" algn="ctr">
              <a:solidFill>
                <a:srgbClr val="2098D5">
                  <a:lumMod val="75000"/>
                </a:srgbClr>
              </a:solidFill>
              <a:prstDash val="solid"/>
            </a:ln>
            <a:effectLst/>
          </p:spPr>
        </p:cxnSp>
        <p:cxnSp>
          <p:nvCxnSpPr>
            <p:cNvPr id="69" name="Straight Connector 68">
              <a:extLst>
                <a:ext uri="{FF2B5EF4-FFF2-40B4-BE49-F238E27FC236}">
                  <a16:creationId xmlns:a16="http://schemas.microsoft.com/office/drawing/2014/main" id="{BC3BCE44-3F22-43C2-8859-2D27021832D1}"/>
                </a:ext>
              </a:extLst>
            </p:cNvPr>
            <p:cNvCxnSpPr>
              <a:cxnSpLocks/>
            </p:cNvCxnSpPr>
            <p:nvPr/>
          </p:nvCxnSpPr>
          <p:spPr>
            <a:xfrm>
              <a:off x="8044496" y="2610229"/>
              <a:ext cx="1065225" cy="0"/>
            </a:xfrm>
            <a:prstGeom prst="line">
              <a:avLst/>
            </a:prstGeom>
            <a:noFill/>
            <a:ln w="38100" cap="flat" cmpd="sng" algn="ctr">
              <a:solidFill>
                <a:srgbClr val="2098D5">
                  <a:lumMod val="75000"/>
                </a:srgbClr>
              </a:solidFill>
              <a:prstDash val="solid"/>
            </a:ln>
            <a:effectLst/>
          </p:spPr>
        </p:cxnSp>
        <p:cxnSp>
          <p:nvCxnSpPr>
            <p:cNvPr id="70" name="Straight Connector 69">
              <a:extLst>
                <a:ext uri="{FF2B5EF4-FFF2-40B4-BE49-F238E27FC236}">
                  <a16:creationId xmlns:a16="http://schemas.microsoft.com/office/drawing/2014/main" id="{D4ACCC6B-B053-4873-BC6B-A9BD76576A76}"/>
                </a:ext>
              </a:extLst>
            </p:cNvPr>
            <p:cNvCxnSpPr>
              <a:cxnSpLocks/>
            </p:cNvCxnSpPr>
            <p:nvPr/>
          </p:nvCxnSpPr>
          <p:spPr>
            <a:xfrm>
              <a:off x="8044496" y="2435198"/>
              <a:ext cx="1065225" cy="0"/>
            </a:xfrm>
            <a:prstGeom prst="line">
              <a:avLst/>
            </a:prstGeom>
            <a:noFill/>
            <a:ln w="38100" cap="flat" cmpd="sng" algn="ctr">
              <a:solidFill>
                <a:srgbClr val="2098D5">
                  <a:lumMod val="75000"/>
                </a:srgbClr>
              </a:solidFill>
              <a:prstDash val="solid"/>
            </a:ln>
            <a:effectLst/>
          </p:spPr>
        </p:cxnSp>
      </p:grpSp>
      <p:sp>
        <p:nvSpPr>
          <p:cNvPr id="72" name="Rectangle: Diagonal Corners Rounded 71">
            <a:extLst>
              <a:ext uri="{FF2B5EF4-FFF2-40B4-BE49-F238E27FC236}">
                <a16:creationId xmlns:a16="http://schemas.microsoft.com/office/drawing/2014/main" id="{3E3C855A-E157-4E93-89BF-92F36A12CA1C}"/>
              </a:ext>
            </a:extLst>
          </p:cNvPr>
          <p:cNvSpPr/>
          <p:nvPr/>
        </p:nvSpPr>
        <p:spPr>
          <a:xfrm>
            <a:off x="4047131" y="4251243"/>
            <a:ext cx="1213134" cy="1763614"/>
          </a:xfrm>
          <a:prstGeom prst="round2DiagRect">
            <a:avLst>
              <a:gd name="adj1" fmla="val 3765"/>
              <a:gd name="adj2" fmla="val 0"/>
            </a:avLst>
          </a:prstGeom>
          <a:solidFill>
            <a:sysClr val="windowText" lastClr="000000">
              <a:lumMod val="65000"/>
              <a:lumOff val="35000"/>
            </a:sysClr>
          </a:solidFill>
          <a:ln w="25400" cap="flat" cmpd="sng" algn="ctr">
            <a:solidFill>
              <a:srgbClr val="424CA0">
                <a:shade val="50000"/>
              </a:srgbClr>
            </a:solidFill>
            <a:prstDash val="solid"/>
          </a:ln>
          <a:effectLst/>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nvGrpSpPr>
          <p:cNvPr id="73" name="Group 72">
            <a:extLst>
              <a:ext uri="{FF2B5EF4-FFF2-40B4-BE49-F238E27FC236}">
                <a16:creationId xmlns:a16="http://schemas.microsoft.com/office/drawing/2014/main" id="{2593FE0F-1CB8-4FCA-8743-606BC73AA36A}"/>
              </a:ext>
            </a:extLst>
          </p:cNvPr>
          <p:cNvGrpSpPr/>
          <p:nvPr/>
        </p:nvGrpSpPr>
        <p:grpSpPr>
          <a:xfrm>
            <a:off x="4128732" y="4461047"/>
            <a:ext cx="1131534" cy="0"/>
            <a:chOff x="2936943" y="4120563"/>
            <a:chExt cx="909721" cy="0"/>
          </a:xfrm>
        </p:grpSpPr>
        <p:cxnSp>
          <p:nvCxnSpPr>
            <p:cNvPr id="88" name="Straight Connector 87">
              <a:extLst>
                <a:ext uri="{FF2B5EF4-FFF2-40B4-BE49-F238E27FC236}">
                  <a16:creationId xmlns:a16="http://schemas.microsoft.com/office/drawing/2014/main" id="{CDEFCC7F-9910-4594-B86B-83342DB5CFCC}"/>
                </a:ext>
              </a:extLst>
            </p:cNvPr>
            <p:cNvCxnSpPr>
              <a:cxnSpLocks/>
            </p:cNvCxnSpPr>
            <p:nvPr/>
          </p:nvCxnSpPr>
          <p:spPr>
            <a:xfrm>
              <a:off x="2936943" y="4120563"/>
              <a:ext cx="838103" cy="0"/>
            </a:xfrm>
            <a:prstGeom prst="line">
              <a:avLst/>
            </a:prstGeom>
            <a:noFill/>
            <a:ln w="19050" cap="flat" cmpd="sng" algn="ctr">
              <a:solidFill>
                <a:srgbClr val="2098D5">
                  <a:lumMod val="75000"/>
                </a:srgbClr>
              </a:solidFill>
              <a:prstDash val="solid"/>
            </a:ln>
            <a:effectLst/>
          </p:spPr>
        </p:cxnSp>
        <p:cxnSp>
          <p:nvCxnSpPr>
            <p:cNvPr id="89" name="Straight Connector 88">
              <a:extLst>
                <a:ext uri="{FF2B5EF4-FFF2-40B4-BE49-F238E27FC236}">
                  <a16:creationId xmlns:a16="http://schemas.microsoft.com/office/drawing/2014/main" id="{B7338971-8AA3-4D5A-8CDF-20661E9C0B36}"/>
                </a:ext>
              </a:extLst>
            </p:cNvPr>
            <p:cNvCxnSpPr>
              <a:cxnSpLocks/>
            </p:cNvCxnSpPr>
            <p:nvPr/>
          </p:nvCxnSpPr>
          <p:spPr>
            <a:xfrm>
              <a:off x="3439486" y="4120563"/>
              <a:ext cx="407178" cy="0"/>
            </a:xfrm>
            <a:prstGeom prst="line">
              <a:avLst/>
            </a:prstGeom>
            <a:noFill/>
            <a:ln w="76200" cap="flat" cmpd="sng" algn="ctr">
              <a:solidFill>
                <a:srgbClr val="2098D5">
                  <a:lumMod val="60000"/>
                  <a:lumOff val="40000"/>
                </a:srgbClr>
              </a:solidFill>
              <a:prstDash val="solid"/>
            </a:ln>
            <a:effectLst/>
          </p:spPr>
        </p:cxnSp>
      </p:grpSp>
      <p:grpSp>
        <p:nvGrpSpPr>
          <p:cNvPr id="74" name="Group 73">
            <a:extLst>
              <a:ext uri="{FF2B5EF4-FFF2-40B4-BE49-F238E27FC236}">
                <a16:creationId xmlns:a16="http://schemas.microsoft.com/office/drawing/2014/main" id="{F45078F8-0199-4AD1-86DC-0C1B59EC3C35}"/>
              </a:ext>
            </a:extLst>
          </p:cNvPr>
          <p:cNvGrpSpPr/>
          <p:nvPr/>
        </p:nvGrpSpPr>
        <p:grpSpPr>
          <a:xfrm>
            <a:off x="4128732" y="4632089"/>
            <a:ext cx="1131534" cy="0"/>
            <a:chOff x="2936943" y="4120563"/>
            <a:chExt cx="909721" cy="0"/>
          </a:xfrm>
        </p:grpSpPr>
        <p:cxnSp>
          <p:nvCxnSpPr>
            <p:cNvPr id="86" name="Straight Connector 85">
              <a:extLst>
                <a:ext uri="{FF2B5EF4-FFF2-40B4-BE49-F238E27FC236}">
                  <a16:creationId xmlns:a16="http://schemas.microsoft.com/office/drawing/2014/main" id="{53923D4A-9C90-42E3-B9BC-D788A2F6E03E}"/>
                </a:ext>
              </a:extLst>
            </p:cNvPr>
            <p:cNvCxnSpPr>
              <a:cxnSpLocks/>
            </p:cNvCxnSpPr>
            <p:nvPr/>
          </p:nvCxnSpPr>
          <p:spPr>
            <a:xfrm>
              <a:off x="2936943" y="4120563"/>
              <a:ext cx="838103" cy="0"/>
            </a:xfrm>
            <a:prstGeom prst="line">
              <a:avLst/>
            </a:prstGeom>
            <a:noFill/>
            <a:ln w="19050" cap="flat" cmpd="sng" algn="ctr">
              <a:solidFill>
                <a:srgbClr val="2098D5">
                  <a:lumMod val="75000"/>
                </a:srgbClr>
              </a:solidFill>
              <a:prstDash val="solid"/>
            </a:ln>
            <a:effectLst/>
          </p:spPr>
        </p:cxnSp>
        <p:cxnSp>
          <p:nvCxnSpPr>
            <p:cNvPr id="87" name="Straight Connector 86">
              <a:extLst>
                <a:ext uri="{FF2B5EF4-FFF2-40B4-BE49-F238E27FC236}">
                  <a16:creationId xmlns:a16="http://schemas.microsoft.com/office/drawing/2014/main" id="{55054538-D9E7-4244-B617-7EB70749E75F}"/>
                </a:ext>
              </a:extLst>
            </p:cNvPr>
            <p:cNvCxnSpPr>
              <a:cxnSpLocks/>
            </p:cNvCxnSpPr>
            <p:nvPr/>
          </p:nvCxnSpPr>
          <p:spPr>
            <a:xfrm>
              <a:off x="3439486" y="4120563"/>
              <a:ext cx="407178" cy="0"/>
            </a:xfrm>
            <a:prstGeom prst="line">
              <a:avLst/>
            </a:prstGeom>
            <a:noFill/>
            <a:ln w="76200" cap="flat" cmpd="sng" algn="ctr">
              <a:solidFill>
                <a:srgbClr val="2098D5">
                  <a:lumMod val="60000"/>
                  <a:lumOff val="40000"/>
                </a:srgbClr>
              </a:solidFill>
              <a:prstDash val="solid"/>
            </a:ln>
            <a:effectLst/>
          </p:spPr>
        </p:cxnSp>
      </p:grpSp>
      <p:grpSp>
        <p:nvGrpSpPr>
          <p:cNvPr id="75" name="Group 74">
            <a:extLst>
              <a:ext uri="{FF2B5EF4-FFF2-40B4-BE49-F238E27FC236}">
                <a16:creationId xmlns:a16="http://schemas.microsoft.com/office/drawing/2014/main" id="{D949FF13-1C89-4791-A30E-A1ABD70CA0B2}"/>
              </a:ext>
            </a:extLst>
          </p:cNvPr>
          <p:cNvGrpSpPr/>
          <p:nvPr/>
        </p:nvGrpSpPr>
        <p:grpSpPr>
          <a:xfrm>
            <a:off x="4118526" y="4826133"/>
            <a:ext cx="1131534" cy="0"/>
            <a:chOff x="2936943" y="4120563"/>
            <a:chExt cx="909721" cy="0"/>
          </a:xfrm>
        </p:grpSpPr>
        <p:cxnSp>
          <p:nvCxnSpPr>
            <p:cNvPr id="84" name="Straight Connector 83">
              <a:extLst>
                <a:ext uri="{FF2B5EF4-FFF2-40B4-BE49-F238E27FC236}">
                  <a16:creationId xmlns:a16="http://schemas.microsoft.com/office/drawing/2014/main" id="{E7B1EE0B-7B86-4C78-A10C-FC7CC59B24A3}"/>
                </a:ext>
              </a:extLst>
            </p:cNvPr>
            <p:cNvCxnSpPr>
              <a:cxnSpLocks/>
            </p:cNvCxnSpPr>
            <p:nvPr/>
          </p:nvCxnSpPr>
          <p:spPr>
            <a:xfrm>
              <a:off x="2936943" y="4120563"/>
              <a:ext cx="838103" cy="0"/>
            </a:xfrm>
            <a:prstGeom prst="line">
              <a:avLst/>
            </a:prstGeom>
            <a:noFill/>
            <a:ln w="19050" cap="flat" cmpd="sng" algn="ctr">
              <a:solidFill>
                <a:srgbClr val="2098D5">
                  <a:lumMod val="75000"/>
                </a:srgbClr>
              </a:solidFill>
              <a:prstDash val="solid"/>
            </a:ln>
            <a:effectLst/>
          </p:spPr>
        </p:cxnSp>
        <p:cxnSp>
          <p:nvCxnSpPr>
            <p:cNvPr id="85" name="Straight Connector 84">
              <a:extLst>
                <a:ext uri="{FF2B5EF4-FFF2-40B4-BE49-F238E27FC236}">
                  <a16:creationId xmlns:a16="http://schemas.microsoft.com/office/drawing/2014/main" id="{35AD41D6-AF79-4E6D-83A5-B6542986730E}"/>
                </a:ext>
              </a:extLst>
            </p:cNvPr>
            <p:cNvCxnSpPr>
              <a:cxnSpLocks/>
            </p:cNvCxnSpPr>
            <p:nvPr/>
          </p:nvCxnSpPr>
          <p:spPr>
            <a:xfrm>
              <a:off x="3439486" y="4120563"/>
              <a:ext cx="407178" cy="0"/>
            </a:xfrm>
            <a:prstGeom prst="line">
              <a:avLst/>
            </a:prstGeom>
            <a:noFill/>
            <a:ln w="76200" cap="flat" cmpd="sng" algn="ctr">
              <a:solidFill>
                <a:srgbClr val="2098D5">
                  <a:lumMod val="60000"/>
                  <a:lumOff val="40000"/>
                </a:srgbClr>
              </a:solidFill>
              <a:prstDash val="solid"/>
            </a:ln>
            <a:effectLst/>
          </p:spPr>
        </p:cxnSp>
      </p:grpSp>
      <p:sp>
        <p:nvSpPr>
          <p:cNvPr id="76" name="Oval 75">
            <a:extLst>
              <a:ext uri="{FF2B5EF4-FFF2-40B4-BE49-F238E27FC236}">
                <a16:creationId xmlns:a16="http://schemas.microsoft.com/office/drawing/2014/main" id="{4AA0A5E8-1D3E-4CE4-A1D9-FC70B7B71013}"/>
              </a:ext>
            </a:extLst>
          </p:cNvPr>
          <p:cNvSpPr/>
          <p:nvPr/>
        </p:nvSpPr>
        <p:spPr>
          <a:xfrm>
            <a:off x="5073124" y="5783809"/>
            <a:ext cx="106263" cy="131214"/>
          </a:xfrm>
          <a:prstGeom prst="ellipse">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cxnSp>
        <p:nvCxnSpPr>
          <p:cNvPr id="90" name="Straight Arrow Connector 89">
            <a:extLst>
              <a:ext uri="{FF2B5EF4-FFF2-40B4-BE49-F238E27FC236}">
                <a16:creationId xmlns:a16="http://schemas.microsoft.com/office/drawing/2014/main" id="{ED37A208-DEF5-4CCF-A1DB-C15E58CD4D1D}"/>
              </a:ext>
            </a:extLst>
          </p:cNvPr>
          <p:cNvCxnSpPr>
            <a:cxnSpLocks/>
          </p:cNvCxnSpPr>
          <p:nvPr/>
        </p:nvCxnSpPr>
        <p:spPr>
          <a:xfrm>
            <a:off x="4980290" y="2968315"/>
            <a:ext cx="0" cy="1098573"/>
          </a:xfrm>
          <a:prstGeom prst="straightConnector1">
            <a:avLst/>
          </a:prstGeom>
          <a:noFill/>
          <a:ln w="57150" cap="flat" cmpd="sng" algn="ctr">
            <a:solidFill>
              <a:srgbClr val="EF3B24"/>
            </a:solidFill>
            <a:prstDash val="solid"/>
            <a:tailEnd type="triangle"/>
          </a:ln>
          <a:effectLst/>
        </p:spPr>
      </p:cxnSp>
      <p:grpSp>
        <p:nvGrpSpPr>
          <p:cNvPr id="92" name="Group 91">
            <a:extLst>
              <a:ext uri="{FF2B5EF4-FFF2-40B4-BE49-F238E27FC236}">
                <a16:creationId xmlns:a16="http://schemas.microsoft.com/office/drawing/2014/main" id="{7189497B-C7D4-4E1E-90CE-3336FF67D444}"/>
              </a:ext>
            </a:extLst>
          </p:cNvPr>
          <p:cNvGrpSpPr/>
          <p:nvPr/>
        </p:nvGrpSpPr>
        <p:grpSpPr>
          <a:xfrm>
            <a:off x="4750651" y="4102438"/>
            <a:ext cx="685703" cy="495934"/>
            <a:chOff x="3505200" y="3999839"/>
            <a:chExt cx="685800" cy="496005"/>
          </a:xfrm>
        </p:grpSpPr>
        <p:sp>
          <p:nvSpPr>
            <p:cNvPr id="93" name="Rectangle 92">
              <a:extLst>
                <a:ext uri="{FF2B5EF4-FFF2-40B4-BE49-F238E27FC236}">
                  <a16:creationId xmlns:a16="http://schemas.microsoft.com/office/drawing/2014/main" id="{36731D01-3078-4C2A-9601-4241E6BB07E7}"/>
                </a:ext>
              </a:extLst>
            </p:cNvPr>
            <p:cNvSpPr/>
            <p:nvPr/>
          </p:nvSpPr>
          <p:spPr>
            <a:xfrm>
              <a:off x="3505200" y="4008876"/>
              <a:ext cx="685800" cy="486968"/>
            </a:xfrm>
            <a:prstGeom prst="rect">
              <a:avLst/>
            </a:prstGeom>
            <a:solidFill>
              <a:srgbClr val="129038">
                <a:lumMod val="40000"/>
                <a:lumOff val="60000"/>
              </a:srgbClr>
            </a:solidFill>
            <a:ln w="25400" cap="flat" cmpd="sng" algn="ctr">
              <a:solidFill>
                <a:srgbClr val="129038"/>
              </a:solidFill>
              <a:prstDash val="solid"/>
            </a:ln>
            <a:effectLst/>
          </p:spPr>
          <p:txBody>
            <a:bodyPr rtlCol="0" anchor="ctr"/>
            <a:lstStyle/>
            <a:p>
              <a:pPr marL="228556" marR="0" lvl="0" indent="-228556" algn="ctr" defTabSz="457112" rtl="0" eaLnBrk="0" fontAlgn="base" latinLnBrk="0" hangingPunct="0">
                <a:lnSpc>
                  <a:spcPct val="100000"/>
                </a:lnSpc>
                <a:spcBef>
                  <a:spcPct val="0"/>
                </a:spcBef>
                <a:spcAft>
                  <a:spcPct val="0"/>
                </a:spcAft>
                <a:buClrTx/>
                <a:buSzTx/>
                <a:buFontTx/>
                <a:buBlip>
                  <a:blip r:embed="rId4"/>
                </a:buBlip>
                <a:tabLst/>
                <a:defRPr/>
              </a:pPr>
              <a:endParaRPr kumimoji="0" lang="en-US" sz="1800" b="0" i="0" u="none" strike="noStrike" kern="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cxnSp>
          <p:nvCxnSpPr>
            <p:cNvPr id="94" name="Straight Connector 93">
              <a:extLst>
                <a:ext uri="{FF2B5EF4-FFF2-40B4-BE49-F238E27FC236}">
                  <a16:creationId xmlns:a16="http://schemas.microsoft.com/office/drawing/2014/main" id="{B2C6D08D-40CC-4CD1-8CAC-D0318037282E}"/>
                </a:ext>
              </a:extLst>
            </p:cNvPr>
            <p:cNvCxnSpPr>
              <a:stCxn id="93" idx="0"/>
              <a:endCxn id="93" idx="2"/>
            </p:cNvCxnSpPr>
            <p:nvPr/>
          </p:nvCxnSpPr>
          <p:spPr>
            <a:xfrm>
              <a:off x="3848100" y="4008876"/>
              <a:ext cx="0" cy="486968"/>
            </a:xfrm>
            <a:prstGeom prst="line">
              <a:avLst/>
            </a:prstGeom>
            <a:noFill/>
            <a:ln w="25400" cap="flat" cmpd="sng" algn="ctr">
              <a:solidFill>
                <a:srgbClr val="129038"/>
              </a:solidFill>
              <a:prstDash val="solid"/>
            </a:ln>
            <a:effectLst/>
          </p:spPr>
        </p:cxnSp>
        <p:cxnSp>
          <p:nvCxnSpPr>
            <p:cNvPr id="95" name="Straight Connector 94">
              <a:extLst>
                <a:ext uri="{FF2B5EF4-FFF2-40B4-BE49-F238E27FC236}">
                  <a16:creationId xmlns:a16="http://schemas.microsoft.com/office/drawing/2014/main" id="{1CE5DDB3-416F-446D-8B51-D0417188532F}"/>
                </a:ext>
              </a:extLst>
            </p:cNvPr>
            <p:cNvCxnSpPr/>
            <p:nvPr/>
          </p:nvCxnSpPr>
          <p:spPr>
            <a:xfrm>
              <a:off x="4027714" y="3999839"/>
              <a:ext cx="0" cy="496005"/>
            </a:xfrm>
            <a:prstGeom prst="line">
              <a:avLst/>
            </a:prstGeom>
            <a:noFill/>
            <a:ln w="25400" cap="flat" cmpd="sng" algn="ctr">
              <a:solidFill>
                <a:srgbClr val="129038"/>
              </a:solidFill>
              <a:prstDash val="solid"/>
            </a:ln>
            <a:effectLst/>
          </p:spPr>
        </p:cxnSp>
        <p:cxnSp>
          <p:nvCxnSpPr>
            <p:cNvPr id="96" name="Straight Connector 95">
              <a:extLst>
                <a:ext uri="{FF2B5EF4-FFF2-40B4-BE49-F238E27FC236}">
                  <a16:creationId xmlns:a16="http://schemas.microsoft.com/office/drawing/2014/main" id="{F4E91FAF-AFAF-4A15-AC58-E5904EA8C872}"/>
                </a:ext>
              </a:extLst>
            </p:cNvPr>
            <p:cNvCxnSpPr/>
            <p:nvPr/>
          </p:nvCxnSpPr>
          <p:spPr>
            <a:xfrm>
              <a:off x="3669475" y="4008876"/>
              <a:ext cx="0" cy="486968"/>
            </a:xfrm>
            <a:prstGeom prst="line">
              <a:avLst/>
            </a:prstGeom>
            <a:noFill/>
            <a:ln w="25400" cap="flat" cmpd="sng" algn="ctr">
              <a:solidFill>
                <a:srgbClr val="129038"/>
              </a:solidFill>
              <a:prstDash val="solid"/>
            </a:ln>
            <a:effectLst/>
          </p:spPr>
        </p:cxnSp>
        <p:cxnSp>
          <p:nvCxnSpPr>
            <p:cNvPr id="97" name="Straight Connector 96">
              <a:extLst>
                <a:ext uri="{FF2B5EF4-FFF2-40B4-BE49-F238E27FC236}">
                  <a16:creationId xmlns:a16="http://schemas.microsoft.com/office/drawing/2014/main" id="{583B0D9D-D269-43E8-9113-06756222B3D3}"/>
                </a:ext>
              </a:extLst>
            </p:cNvPr>
            <p:cNvCxnSpPr/>
            <p:nvPr/>
          </p:nvCxnSpPr>
          <p:spPr>
            <a:xfrm>
              <a:off x="3505200" y="4343400"/>
              <a:ext cx="685800" cy="0"/>
            </a:xfrm>
            <a:prstGeom prst="line">
              <a:avLst/>
            </a:prstGeom>
            <a:noFill/>
            <a:ln w="25400" cap="flat" cmpd="sng" algn="ctr">
              <a:solidFill>
                <a:srgbClr val="129038"/>
              </a:solidFill>
              <a:prstDash val="solid"/>
            </a:ln>
            <a:effectLst/>
          </p:spPr>
        </p:cxnSp>
        <p:cxnSp>
          <p:nvCxnSpPr>
            <p:cNvPr id="98" name="Straight Connector 97">
              <a:extLst>
                <a:ext uri="{FF2B5EF4-FFF2-40B4-BE49-F238E27FC236}">
                  <a16:creationId xmlns:a16="http://schemas.microsoft.com/office/drawing/2014/main" id="{B8DFD1EC-52D3-407E-9F9E-EB3FDC483294}"/>
                </a:ext>
              </a:extLst>
            </p:cNvPr>
            <p:cNvCxnSpPr/>
            <p:nvPr/>
          </p:nvCxnSpPr>
          <p:spPr>
            <a:xfrm>
              <a:off x="3505200" y="4191000"/>
              <a:ext cx="685800" cy="0"/>
            </a:xfrm>
            <a:prstGeom prst="line">
              <a:avLst/>
            </a:prstGeom>
            <a:noFill/>
            <a:ln w="25400" cap="flat" cmpd="sng" algn="ctr">
              <a:solidFill>
                <a:srgbClr val="129038"/>
              </a:solidFill>
              <a:prstDash val="solid"/>
            </a:ln>
            <a:effectLst/>
          </p:spPr>
        </p:cxnSp>
        <p:sp>
          <p:nvSpPr>
            <p:cNvPr id="99" name="Rectangle 98">
              <a:extLst>
                <a:ext uri="{FF2B5EF4-FFF2-40B4-BE49-F238E27FC236}">
                  <a16:creationId xmlns:a16="http://schemas.microsoft.com/office/drawing/2014/main" id="{6B6B4222-2BA4-4B95-A26A-9A795BD4988A}"/>
                </a:ext>
              </a:extLst>
            </p:cNvPr>
            <p:cNvSpPr/>
            <p:nvPr/>
          </p:nvSpPr>
          <p:spPr>
            <a:xfrm>
              <a:off x="3669475" y="4008876"/>
              <a:ext cx="178625" cy="182124"/>
            </a:xfrm>
            <a:prstGeom prst="rect">
              <a:avLst/>
            </a:prstGeom>
            <a:solidFill>
              <a:srgbClr val="129038">
                <a:lumMod val="75000"/>
              </a:srgbClr>
            </a:solidFill>
            <a:ln w="25400" cap="flat" cmpd="sng" algn="ctr">
              <a:solidFill>
                <a:srgbClr val="129038"/>
              </a:solidFill>
              <a:prstDash val="solid"/>
            </a:ln>
            <a:effectLst/>
          </p:spPr>
          <p:txBody>
            <a:bodyPr rtlCol="0" anchor="ctr"/>
            <a:lstStyle/>
            <a:p>
              <a:pPr marL="228556" marR="0" lvl="0" indent="-228556" algn="ctr" defTabSz="457112" rtl="0" eaLnBrk="0" fontAlgn="base" latinLnBrk="0" hangingPunct="0">
                <a:lnSpc>
                  <a:spcPct val="100000"/>
                </a:lnSpc>
                <a:spcBef>
                  <a:spcPct val="0"/>
                </a:spcBef>
                <a:spcAft>
                  <a:spcPct val="0"/>
                </a:spcAft>
                <a:buClrTx/>
                <a:buSzTx/>
                <a:buFontTx/>
                <a:buBlip>
                  <a:blip r:embed="rId4"/>
                </a:buBlip>
                <a:tabLst/>
                <a:defRPr/>
              </a:pPr>
              <a:endParaRPr kumimoji="0" lang="en-US" sz="1800" b="0" i="0" u="none" strike="noStrike" kern="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grpSp>
      <p:sp>
        <p:nvSpPr>
          <p:cNvPr id="78" name="Rounded Rectangle 30">
            <a:extLst>
              <a:ext uri="{FF2B5EF4-FFF2-40B4-BE49-F238E27FC236}">
                <a16:creationId xmlns:a16="http://schemas.microsoft.com/office/drawing/2014/main" id="{0E1D0349-E50F-4277-A7AB-22F21660548B}"/>
              </a:ext>
            </a:extLst>
          </p:cNvPr>
          <p:cNvSpPr/>
          <p:nvPr/>
        </p:nvSpPr>
        <p:spPr>
          <a:xfrm>
            <a:off x="3941713" y="4972879"/>
            <a:ext cx="930179" cy="1251783"/>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223"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Rectangle 3">
            <a:extLst>
              <a:ext uri="{FF2B5EF4-FFF2-40B4-BE49-F238E27FC236}">
                <a16:creationId xmlns:a16="http://schemas.microsoft.com/office/drawing/2014/main" id="{54A3EA12-88F2-458B-8579-C78F16879A4F}"/>
              </a:ext>
            </a:extLst>
          </p:cNvPr>
          <p:cNvSpPr/>
          <p:nvPr/>
        </p:nvSpPr>
        <p:spPr>
          <a:xfrm>
            <a:off x="4144232" y="5117650"/>
            <a:ext cx="515736" cy="258884"/>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9935" tIns="34968" rIns="69935" bIns="34968">
            <a:spAutoFit/>
          </a:bodyPr>
          <a:lstStyle/>
          <a:p>
            <a:pPr marL="0" marR="0" lvl="0" indent="0" algn="ctr" defTabSz="699313" rtl="0" eaLnBrk="1" fontAlgn="auto" latinLnBrk="0" hangingPunct="1">
              <a:lnSpc>
                <a:spcPct val="100000"/>
              </a:lnSpc>
              <a:spcBef>
                <a:spcPts val="0"/>
              </a:spcBef>
              <a:spcAft>
                <a:spcPts val="0"/>
              </a:spcAft>
              <a:buClrTx/>
              <a:buSzTx/>
              <a:buFontTx/>
              <a:buNone/>
              <a:tabLst/>
              <a:defRPr/>
            </a:pPr>
            <a:r>
              <a:rPr kumimoji="0" lang="en-US" sz="1223"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Page</a:t>
            </a:r>
            <a:endParaRPr kumimoji="0" lang="en-US" sz="1223"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6" name="Rectangle 5">
            <a:extLst>
              <a:ext uri="{FF2B5EF4-FFF2-40B4-BE49-F238E27FC236}">
                <a16:creationId xmlns:a16="http://schemas.microsoft.com/office/drawing/2014/main" id="{E7B62356-02A1-4457-94CB-248AB2762698}"/>
              </a:ext>
            </a:extLst>
          </p:cNvPr>
          <p:cNvSpPr/>
          <p:nvPr/>
        </p:nvSpPr>
        <p:spPr>
          <a:xfrm>
            <a:off x="4144232" y="5483645"/>
            <a:ext cx="515736" cy="258884"/>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9935" tIns="34968" rIns="69935" bIns="34968">
            <a:spAutoFit/>
          </a:bodyPr>
          <a:lstStyle/>
          <a:p>
            <a:pPr marL="0" marR="0" lvl="0" indent="0" algn="ctr" defTabSz="699313" rtl="0" eaLnBrk="1" fontAlgn="auto" latinLnBrk="0" hangingPunct="1">
              <a:lnSpc>
                <a:spcPct val="100000"/>
              </a:lnSpc>
              <a:spcBef>
                <a:spcPts val="0"/>
              </a:spcBef>
              <a:spcAft>
                <a:spcPts val="0"/>
              </a:spcAft>
              <a:buClrTx/>
              <a:buSzTx/>
              <a:buFontTx/>
              <a:buNone/>
              <a:tabLst/>
              <a:defRPr/>
            </a:pPr>
            <a:r>
              <a:rPr kumimoji="0" lang="en-US" sz="1223"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Page</a:t>
            </a:r>
            <a:endParaRPr kumimoji="0" lang="en-US" sz="1223"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8" name="Rectangle 7">
            <a:extLst>
              <a:ext uri="{FF2B5EF4-FFF2-40B4-BE49-F238E27FC236}">
                <a16:creationId xmlns:a16="http://schemas.microsoft.com/office/drawing/2014/main" id="{30926B68-7652-4960-963E-1E64124D5A16}"/>
              </a:ext>
            </a:extLst>
          </p:cNvPr>
          <p:cNvSpPr/>
          <p:nvPr/>
        </p:nvSpPr>
        <p:spPr>
          <a:xfrm>
            <a:off x="4144232" y="5838309"/>
            <a:ext cx="515736" cy="258884"/>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9935" tIns="34968" rIns="69935" bIns="34968">
            <a:spAutoFit/>
          </a:bodyPr>
          <a:lstStyle/>
          <a:p>
            <a:pPr marL="0" marR="0" lvl="0" indent="0" algn="ctr" defTabSz="699313" rtl="0" eaLnBrk="1" fontAlgn="auto" latinLnBrk="0" hangingPunct="1">
              <a:lnSpc>
                <a:spcPct val="100000"/>
              </a:lnSpc>
              <a:spcBef>
                <a:spcPts val="0"/>
              </a:spcBef>
              <a:spcAft>
                <a:spcPts val="0"/>
              </a:spcAft>
              <a:buClrTx/>
              <a:buSzTx/>
              <a:buFontTx/>
              <a:buNone/>
              <a:tabLst/>
              <a:defRPr/>
            </a:pPr>
            <a:r>
              <a:rPr kumimoji="0" lang="en-US" sz="1223"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Page</a:t>
            </a:r>
            <a:endParaRPr kumimoji="0" lang="en-US" sz="1223"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cxnSp>
        <p:nvCxnSpPr>
          <p:cNvPr id="48" name="Straight Arrow Connector 47">
            <a:extLst>
              <a:ext uri="{FF2B5EF4-FFF2-40B4-BE49-F238E27FC236}">
                <a16:creationId xmlns:a16="http://schemas.microsoft.com/office/drawing/2014/main" id="{757CF6FC-0E23-44EF-9775-EFF18617BAC5}"/>
              </a:ext>
            </a:extLst>
          </p:cNvPr>
          <p:cNvCxnSpPr>
            <a:cxnSpLocks/>
          </p:cNvCxnSpPr>
          <p:nvPr/>
        </p:nvCxnSpPr>
        <p:spPr>
          <a:xfrm>
            <a:off x="4438947" y="2980788"/>
            <a:ext cx="13608" cy="1940604"/>
          </a:xfrm>
          <a:prstGeom prst="straightConnector1">
            <a:avLst/>
          </a:prstGeom>
          <a:noFill/>
          <a:ln w="57150" cap="flat" cmpd="sng" algn="ctr">
            <a:solidFill>
              <a:srgbClr val="EF3B24"/>
            </a:solidFill>
            <a:prstDash val="solid"/>
            <a:tailEnd type="triangle"/>
          </a:ln>
          <a:effectLst/>
        </p:spPr>
      </p:cxnSp>
      <p:sp>
        <p:nvSpPr>
          <p:cNvPr id="14" name="Rectangle 13">
            <a:extLst>
              <a:ext uri="{FF2B5EF4-FFF2-40B4-BE49-F238E27FC236}">
                <a16:creationId xmlns:a16="http://schemas.microsoft.com/office/drawing/2014/main" id="{93530D76-2B04-478B-BBE3-0921DC2DF992}"/>
              </a:ext>
            </a:extLst>
          </p:cNvPr>
          <p:cNvSpPr/>
          <p:nvPr/>
        </p:nvSpPr>
        <p:spPr>
          <a:xfrm>
            <a:off x="3832013" y="6239991"/>
            <a:ext cx="1140175" cy="258884"/>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marL="0" marR="0" lvl="0" indent="0" algn="ctr" defTabSz="699313" rtl="0" eaLnBrk="1" fontAlgn="auto" latinLnBrk="0" hangingPunct="1">
              <a:lnSpc>
                <a:spcPct val="100000"/>
              </a:lnSpc>
              <a:spcBef>
                <a:spcPts val="0"/>
              </a:spcBef>
              <a:spcAft>
                <a:spcPts val="0"/>
              </a:spcAft>
              <a:buClrTx/>
              <a:buSzTx/>
              <a:buFontTx/>
              <a:buNone/>
              <a:tabLst/>
              <a:defRPr/>
            </a:pPr>
            <a:r>
              <a:rPr kumimoji="0" lang="en-US" sz="1223"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Buffer Cache</a:t>
            </a:r>
            <a:endParaRPr kumimoji="0" lang="en-US" sz="1223"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15" name="Rectangle 14">
            <a:extLst>
              <a:ext uri="{FF2B5EF4-FFF2-40B4-BE49-F238E27FC236}">
                <a16:creationId xmlns:a16="http://schemas.microsoft.com/office/drawing/2014/main" id="{E332DF76-DDF9-4B2F-B10E-53845420DD7A}"/>
              </a:ext>
            </a:extLst>
          </p:cNvPr>
          <p:cNvSpPr/>
          <p:nvPr/>
        </p:nvSpPr>
        <p:spPr>
          <a:xfrm>
            <a:off x="7684406" y="6110549"/>
            <a:ext cx="1140175" cy="258884"/>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marL="0" marR="0" lvl="0" indent="0" algn="ctr" defTabSz="699313" rtl="0" eaLnBrk="1" fontAlgn="auto" latinLnBrk="0" hangingPunct="1">
              <a:lnSpc>
                <a:spcPct val="100000"/>
              </a:lnSpc>
              <a:spcBef>
                <a:spcPts val="0"/>
              </a:spcBef>
              <a:spcAft>
                <a:spcPts val="0"/>
              </a:spcAft>
              <a:buClrTx/>
              <a:buSzTx/>
              <a:buFontTx/>
              <a:buNone/>
              <a:tabLst/>
              <a:defRPr/>
            </a:pPr>
            <a:r>
              <a:rPr kumimoji="0" lang="en-US" sz="1223"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MDF or NDF</a:t>
            </a:r>
            <a:endParaRPr kumimoji="0" lang="en-US" sz="1223"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16" name="Rectangle 15">
            <a:extLst>
              <a:ext uri="{FF2B5EF4-FFF2-40B4-BE49-F238E27FC236}">
                <a16:creationId xmlns:a16="http://schemas.microsoft.com/office/drawing/2014/main" id="{482BD400-DBBC-44A8-B573-893A0FDCBB66}"/>
              </a:ext>
            </a:extLst>
          </p:cNvPr>
          <p:cNvSpPr/>
          <p:nvPr/>
        </p:nvSpPr>
        <p:spPr>
          <a:xfrm>
            <a:off x="7684406" y="2879944"/>
            <a:ext cx="1140175" cy="258884"/>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marL="0" marR="0" lvl="0" indent="0" algn="ctr" defTabSz="699313" rtl="0" eaLnBrk="1" fontAlgn="auto" latinLnBrk="0" hangingPunct="1">
              <a:lnSpc>
                <a:spcPct val="100000"/>
              </a:lnSpc>
              <a:spcBef>
                <a:spcPts val="0"/>
              </a:spcBef>
              <a:spcAft>
                <a:spcPts val="0"/>
              </a:spcAft>
              <a:buClrTx/>
              <a:buSzTx/>
              <a:buFontTx/>
              <a:buNone/>
              <a:tabLst/>
              <a:defRPr/>
            </a:pPr>
            <a:r>
              <a:rPr kumimoji="0" lang="en-US" sz="1223"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LDF</a:t>
            </a:r>
            <a:endParaRPr kumimoji="0" lang="en-US" sz="1223"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571936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3B396-ACEF-4A35-A562-142161DD6816}"/>
              </a:ext>
            </a:extLst>
          </p:cNvPr>
          <p:cNvSpPr>
            <a:spLocks noGrp="1"/>
          </p:cNvSpPr>
          <p:nvPr>
            <p:ph type="title"/>
          </p:nvPr>
        </p:nvSpPr>
        <p:spPr/>
        <p:txBody>
          <a:bodyPr/>
          <a:lstStyle/>
          <a:p>
            <a:r>
              <a:rPr lang="en-US" dirty="0"/>
              <a:t>Log Buffer Flushing</a:t>
            </a:r>
          </a:p>
        </p:txBody>
      </p:sp>
      <p:graphicFrame>
        <p:nvGraphicFramePr>
          <p:cNvPr id="4" name="Content Placeholder 3">
            <a:extLst>
              <a:ext uri="{FF2B5EF4-FFF2-40B4-BE49-F238E27FC236}">
                <a16:creationId xmlns:a16="http://schemas.microsoft.com/office/drawing/2014/main" id="{CBBE10F8-AF7C-48AE-9E65-953A4F06B9AF}"/>
              </a:ext>
            </a:extLst>
          </p:cNvPr>
          <p:cNvGraphicFramePr>
            <a:graphicFrameLocks noGrp="1"/>
          </p:cNvGraphicFramePr>
          <p:nvPr>
            <p:ph sz="quarter" idx="13"/>
          </p:nvPr>
        </p:nvGraphicFramePr>
        <p:xfrm>
          <a:off x="655638" y="1216385"/>
          <a:ext cx="10880726"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700456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Server Buffer Pool</a:t>
            </a:r>
          </a:p>
        </p:txBody>
      </p:sp>
      <p:sp>
        <p:nvSpPr>
          <p:cNvPr id="2" name="Rectangle 1"/>
          <p:cNvSpPr/>
          <p:nvPr/>
        </p:nvSpPr>
        <p:spPr>
          <a:xfrm>
            <a:off x="270068" y="1201981"/>
            <a:ext cx="6435532" cy="830997"/>
          </a:xfrm>
          <a:prstGeom prst="rect">
            <a:avLst/>
          </a:prstGeom>
        </p:spPr>
        <p:txBody>
          <a:bodyPr wrap="squar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a:ea typeface="+mn-ea"/>
              <a:cs typeface="+mn-cs"/>
            </a:endParaRP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 name="Text Box 10">
            <a:extLst>
              <a:ext uri="{FF2B5EF4-FFF2-40B4-BE49-F238E27FC236}">
                <a16:creationId xmlns:a16="http://schemas.microsoft.com/office/drawing/2014/main" id="{5B37512A-8246-403C-8609-1B297EA845F0}"/>
              </a:ext>
            </a:extLst>
          </p:cNvPr>
          <p:cNvSpPr txBox="1">
            <a:spLocks noChangeArrowheads="1"/>
          </p:cNvSpPr>
          <p:nvPr/>
        </p:nvSpPr>
        <p:spPr bwMode="auto">
          <a:xfrm>
            <a:off x="7102028" y="4744024"/>
            <a:ext cx="725282" cy="350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marL="0" marR="0" lvl="0" indent="0" algn="r" defTabSz="914224" rtl="0" eaLnBrk="1" fontAlgn="auto" latinLnBrk="0" hangingPunct="1">
              <a:lnSpc>
                <a:spcPct val="100000"/>
              </a:lnSpc>
              <a:spcBef>
                <a:spcPct val="50000"/>
              </a:spcBef>
              <a:spcAft>
                <a:spcPts val="0"/>
              </a:spcAft>
              <a:buClrTx/>
              <a:buSzTx/>
              <a:buFontTx/>
              <a:buNone/>
              <a:tabLst/>
              <a:defRPr/>
            </a:pPr>
            <a:r>
              <a:rPr kumimoji="0" lang="en-US" sz="1632" b="0" i="0" u="none" strike="noStrike" kern="0" cap="none" spc="0" normalizeH="0" baseline="0" noProof="0" dirty="0">
                <a:ln>
                  <a:noFill/>
                </a:ln>
                <a:solidFill>
                  <a:srgbClr val="505050">
                    <a:lumMod val="50000"/>
                  </a:srgbClr>
                </a:solidFill>
                <a:effectLst/>
                <a:uLnTx/>
                <a:uFillTx/>
                <a:latin typeface="Arial" panose="020B0604020202020204" pitchFamily="34" charset="0"/>
                <a:ea typeface="+mn-ea"/>
                <a:cs typeface="+mn-cs"/>
              </a:rPr>
              <a:t>Disks</a:t>
            </a:r>
          </a:p>
        </p:txBody>
      </p:sp>
      <p:sp>
        <p:nvSpPr>
          <p:cNvPr id="55" name="Rectangle 11">
            <a:extLst>
              <a:ext uri="{FF2B5EF4-FFF2-40B4-BE49-F238E27FC236}">
                <a16:creationId xmlns:a16="http://schemas.microsoft.com/office/drawing/2014/main" id="{CDD6A2C8-A9DB-4076-A976-978D33F5F1AF}"/>
              </a:ext>
            </a:extLst>
          </p:cNvPr>
          <p:cNvSpPr>
            <a:spLocks noChangeArrowheads="1"/>
          </p:cNvSpPr>
          <p:nvPr/>
        </p:nvSpPr>
        <p:spPr bwMode="auto">
          <a:xfrm>
            <a:off x="8067653" y="3263456"/>
            <a:ext cx="3734021" cy="672337"/>
          </a:xfrm>
          <a:prstGeom prst="rect">
            <a:avLst/>
          </a:prstGeom>
          <a:solidFill>
            <a:schemeClr val="accent1">
              <a:lumMod val="75000"/>
            </a:schemeClr>
          </a:solidFill>
          <a:ln w="9525" cap="flat" cmpd="sng" algn="ctr">
            <a:solidFill>
              <a:srgbClr val="107C10"/>
            </a:solidFill>
            <a:prstDash val="solid"/>
            <a:headEnd/>
            <a:tailEnd/>
          </a:ln>
          <a:effectLst/>
        </p:spPr>
        <p:txBody>
          <a:bodyPr wrap="none" anchor="ct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Buffer Pool</a:t>
            </a:r>
          </a:p>
        </p:txBody>
      </p:sp>
      <p:sp>
        <p:nvSpPr>
          <p:cNvPr id="56" name="Text Box 12">
            <a:extLst>
              <a:ext uri="{FF2B5EF4-FFF2-40B4-BE49-F238E27FC236}">
                <a16:creationId xmlns:a16="http://schemas.microsoft.com/office/drawing/2014/main" id="{114053ED-8765-466E-84AE-A07DA021C65D}"/>
              </a:ext>
            </a:extLst>
          </p:cNvPr>
          <p:cNvSpPr txBox="1">
            <a:spLocks noChangeArrowheads="1"/>
          </p:cNvSpPr>
          <p:nvPr/>
        </p:nvSpPr>
        <p:spPr bwMode="auto">
          <a:xfrm>
            <a:off x="6966410" y="3424459"/>
            <a:ext cx="1007893" cy="350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marL="0" marR="0" lvl="0" indent="0" algn="r" defTabSz="914224" rtl="0" eaLnBrk="1" fontAlgn="auto" latinLnBrk="0" hangingPunct="1">
              <a:lnSpc>
                <a:spcPct val="100000"/>
              </a:lnSpc>
              <a:spcBef>
                <a:spcPct val="50000"/>
              </a:spcBef>
              <a:spcAft>
                <a:spcPts val="0"/>
              </a:spcAft>
              <a:buClrTx/>
              <a:buSzTx/>
              <a:buFontTx/>
              <a:buNone/>
              <a:tabLst/>
              <a:defRPr/>
            </a:pPr>
            <a:r>
              <a:rPr kumimoji="0" lang="en-US" sz="1632" b="0" i="0" u="none" strike="noStrike" kern="0" cap="none" spc="0" normalizeH="0" baseline="0" noProof="0" dirty="0">
                <a:ln>
                  <a:noFill/>
                </a:ln>
                <a:solidFill>
                  <a:srgbClr val="505050">
                    <a:lumMod val="50000"/>
                  </a:srgbClr>
                </a:solidFill>
                <a:effectLst/>
                <a:uLnTx/>
                <a:uFillTx/>
                <a:latin typeface="Arial" panose="020B0604020202020204" pitchFamily="34" charset="0"/>
                <a:ea typeface="+mn-ea"/>
                <a:cs typeface="+mn-cs"/>
              </a:rPr>
              <a:t>Memory</a:t>
            </a:r>
          </a:p>
        </p:txBody>
      </p:sp>
      <p:sp>
        <p:nvSpPr>
          <p:cNvPr id="57" name="Text Box 18">
            <a:extLst>
              <a:ext uri="{FF2B5EF4-FFF2-40B4-BE49-F238E27FC236}">
                <a16:creationId xmlns:a16="http://schemas.microsoft.com/office/drawing/2014/main" id="{EAEDCB83-39E0-4A5D-AF6B-24E5C7CE9796}"/>
              </a:ext>
            </a:extLst>
          </p:cNvPr>
          <p:cNvSpPr txBox="1">
            <a:spLocks noChangeArrowheads="1"/>
          </p:cNvSpPr>
          <p:nvPr/>
        </p:nvSpPr>
        <p:spPr bwMode="auto">
          <a:xfrm>
            <a:off x="8067653" y="1928788"/>
            <a:ext cx="1026856" cy="606488"/>
          </a:xfrm>
          <a:prstGeom prst="rect">
            <a:avLst/>
          </a:prstGeom>
          <a:solidFill>
            <a:schemeClr val="accent1">
              <a:lumMod val="20000"/>
              <a:lumOff val="80000"/>
            </a:schemeClr>
          </a:solidFill>
          <a:ln w="9525" cap="flat" cmpd="sng" algn="ctr">
            <a:solidFill>
              <a:srgbClr val="0078D7"/>
            </a:solidFill>
            <a:prstDash val="solid"/>
          </a:ln>
          <a:effectLst/>
        </p:spPr>
        <p:txBody>
          <a:bodyPr wrap="square">
            <a:spAutoFit/>
          </a:bodyPr>
          <a:lstStyle>
            <a:defPPr>
              <a:defRPr lang="en-US"/>
            </a:defPPr>
            <a:lvl1pPr>
              <a:defRPr b="0">
                <a:latin typeface="Arial" panose="020B0604020202020204" pitchFamily="34" charset="0"/>
              </a:defRPr>
            </a:lvl1pPr>
            <a:lvl2pPr marL="742950" indent="-285750">
              <a:defRPr b="1">
                <a:latin typeface="Arial Narrow" panose="020B0606020202030204" pitchFamily="34" charset="0"/>
              </a:defRPr>
            </a:lvl2pPr>
            <a:lvl3pPr marL="1143000" indent="-228600">
              <a:defRPr b="1">
                <a:latin typeface="Arial Narrow" panose="020B0606020202030204" pitchFamily="34" charset="0"/>
              </a:defRPr>
            </a:lvl3pPr>
            <a:lvl4pPr marL="1600200" indent="-228600">
              <a:defRPr b="1">
                <a:latin typeface="Arial Narrow" panose="020B0606020202030204" pitchFamily="34" charset="0"/>
              </a:defRPr>
            </a:lvl4pPr>
            <a:lvl5pPr marL="2057400" indent="-228600">
              <a:defRPr b="1">
                <a:latin typeface="Arial Narrow" panose="020B0606020202030204" pitchFamily="34" charset="0"/>
              </a:defRPr>
            </a:lvl5pPr>
            <a:lvl6pPr marL="2514600" indent="-228600" algn="ctr" eaLnBrk="0" fontAlgn="base" hangingPunct="0">
              <a:spcBef>
                <a:spcPct val="0"/>
              </a:spcBef>
              <a:spcAft>
                <a:spcPct val="0"/>
              </a:spcAft>
              <a:defRPr b="1">
                <a:latin typeface="Arial Narrow" panose="020B0606020202030204" pitchFamily="34" charset="0"/>
              </a:defRPr>
            </a:lvl6pPr>
            <a:lvl7pPr marL="2971800" indent="-228600" algn="ctr" eaLnBrk="0" fontAlgn="base" hangingPunct="0">
              <a:spcBef>
                <a:spcPct val="0"/>
              </a:spcBef>
              <a:spcAft>
                <a:spcPct val="0"/>
              </a:spcAft>
              <a:defRPr b="1">
                <a:latin typeface="Arial Narrow" panose="020B0606020202030204" pitchFamily="34" charset="0"/>
              </a:defRPr>
            </a:lvl7pPr>
            <a:lvl8pPr marL="3429000" indent="-228600" algn="ctr" eaLnBrk="0" fontAlgn="base" hangingPunct="0">
              <a:spcBef>
                <a:spcPct val="0"/>
              </a:spcBef>
              <a:spcAft>
                <a:spcPct val="0"/>
              </a:spcAft>
              <a:defRPr b="1">
                <a:latin typeface="Arial Narrow" panose="020B0606020202030204" pitchFamily="34" charset="0"/>
              </a:defRPr>
            </a:lvl8pPr>
            <a:lvl9pPr marL="3886200" indent="-228600" algn="ctr" eaLnBrk="0" fontAlgn="base" hangingPunct="0">
              <a:spcBef>
                <a:spcPct val="0"/>
              </a:spcBef>
              <a:spcAft>
                <a:spcPct val="0"/>
              </a:spcAft>
              <a:defRPr b="1">
                <a:latin typeface="Arial Narrow" panose="020B0606020202030204" pitchFamily="34" charset="0"/>
              </a:defRPr>
            </a:lvl9p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Physical</a:t>
            </a:r>
          </a:p>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Read</a:t>
            </a:r>
          </a:p>
        </p:txBody>
      </p:sp>
      <p:sp>
        <p:nvSpPr>
          <p:cNvPr id="58" name="Text Box 19">
            <a:extLst>
              <a:ext uri="{FF2B5EF4-FFF2-40B4-BE49-F238E27FC236}">
                <a16:creationId xmlns:a16="http://schemas.microsoft.com/office/drawing/2014/main" id="{59F6E1F2-FFD9-46E3-8091-608AF1877D43}"/>
              </a:ext>
            </a:extLst>
          </p:cNvPr>
          <p:cNvSpPr txBox="1">
            <a:spLocks noChangeArrowheads="1"/>
          </p:cNvSpPr>
          <p:nvPr/>
        </p:nvSpPr>
        <p:spPr bwMode="auto">
          <a:xfrm>
            <a:off x="10819823" y="1928788"/>
            <a:ext cx="866833" cy="606488"/>
          </a:xfrm>
          <a:prstGeom prst="rect">
            <a:avLst/>
          </a:prstGeom>
          <a:solidFill>
            <a:schemeClr val="accent1">
              <a:lumMod val="20000"/>
              <a:lumOff val="80000"/>
            </a:schemeClr>
          </a:solidFill>
          <a:ln w="9525" cap="flat" cmpd="sng" algn="ctr">
            <a:solidFill>
              <a:srgbClr val="0078D7"/>
            </a:solidFill>
            <a:prstDash val="solid"/>
          </a:ln>
          <a:effectLst/>
        </p:spPr>
        <p:txBody>
          <a:bodyPr wrap="none">
            <a:spAutoFit/>
          </a:bodyPr>
          <a:lstStyle>
            <a:defPPr>
              <a:defRPr lang="en-US"/>
            </a:defPPr>
            <a:lvl1pPr>
              <a:defRPr b="0">
                <a:latin typeface="Arial" panose="020B0604020202020204" pitchFamily="34" charset="0"/>
              </a:defRPr>
            </a:lvl1pPr>
            <a:lvl2pPr marL="742950" indent="-285750">
              <a:defRPr b="1">
                <a:latin typeface="Arial Narrow" panose="020B0606020202030204" pitchFamily="34" charset="0"/>
              </a:defRPr>
            </a:lvl2pPr>
            <a:lvl3pPr marL="1143000" indent="-228600">
              <a:defRPr b="1">
                <a:latin typeface="Arial Narrow" panose="020B0606020202030204" pitchFamily="34" charset="0"/>
              </a:defRPr>
            </a:lvl3pPr>
            <a:lvl4pPr marL="1600200" indent="-228600">
              <a:defRPr b="1">
                <a:latin typeface="Arial Narrow" panose="020B0606020202030204" pitchFamily="34" charset="0"/>
              </a:defRPr>
            </a:lvl4pPr>
            <a:lvl5pPr marL="2057400" indent="-228600">
              <a:defRPr b="1">
                <a:latin typeface="Arial Narrow" panose="020B0606020202030204" pitchFamily="34" charset="0"/>
              </a:defRPr>
            </a:lvl5pPr>
            <a:lvl6pPr marL="2514600" indent="-228600" algn="ctr" eaLnBrk="0" fontAlgn="base" hangingPunct="0">
              <a:spcBef>
                <a:spcPct val="0"/>
              </a:spcBef>
              <a:spcAft>
                <a:spcPct val="0"/>
              </a:spcAft>
              <a:defRPr b="1">
                <a:latin typeface="Arial Narrow" panose="020B0606020202030204" pitchFamily="34" charset="0"/>
              </a:defRPr>
            </a:lvl6pPr>
            <a:lvl7pPr marL="2971800" indent="-228600" algn="ctr" eaLnBrk="0" fontAlgn="base" hangingPunct="0">
              <a:spcBef>
                <a:spcPct val="0"/>
              </a:spcBef>
              <a:spcAft>
                <a:spcPct val="0"/>
              </a:spcAft>
              <a:defRPr b="1">
                <a:latin typeface="Arial Narrow" panose="020B0606020202030204" pitchFamily="34" charset="0"/>
              </a:defRPr>
            </a:lvl7pPr>
            <a:lvl8pPr marL="3429000" indent="-228600" algn="ctr" eaLnBrk="0" fontAlgn="base" hangingPunct="0">
              <a:spcBef>
                <a:spcPct val="0"/>
              </a:spcBef>
              <a:spcAft>
                <a:spcPct val="0"/>
              </a:spcAft>
              <a:defRPr b="1">
                <a:latin typeface="Arial Narrow" panose="020B0606020202030204" pitchFamily="34" charset="0"/>
              </a:defRPr>
            </a:lvl8pPr>
            <a:lvl9pPr marL="3886200" indent="-228600" algn="ctr" eaLnBrk="0" fontAlgn="base" hangingPunct="0">
              <a:spcBef>
                <a:spcPct val="0"/>
              </a:spcBef>
              <a:spcAft>
                <a:spcPct val="0"/>
              </a:spcAft>
              <a:defRPr b="1">
                <a:latin typeface="Arial Narrow" panose="020B0606020202030204" pitchFamily="34" charset="0"/>
              </a:defRPr>
            </a:lvl9p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Logical</a:t>
            </a:r>
          </a:p>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Read</a:t>
            </a:r>
          </a:p>
        </p:txBody>
      </p:sp>
      <p:sp>
        <p:nvSpPr>
          <p:cNvPr id="59" name="Line 13">
            <a:extLst>
              <a:ext uri="{FF2B5EF4-FFF2-40B4-BE49-F238E27FC236}">
                <a16:creationId xmlns:a16="http://schemas.microsoft.com/office/drawing/2014/main" id="{C9C991CD-B4F0-41E8-8798-B69F500180DE}"/>
              </a:ext>
            </a:extLst>
          </p:cNvPr>
          <p:cNvSpPr>
            <a:spLocks noChangeShapeType="1"/>
          </p:cNvSpPr>
          <p:nvPr/>
        </p:nvSpPr>
        <p:spPr bwMode="auto">
          <a:xfrm>
            <a:off x="8441055" y="2663157"/>
            <a:ext cx="0" cy="1656830"/>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60" name="Line 14">
            <a:extLst>
              <a:ext uri="{FF2B5EF4-FFF2-40B4-BE49-F238E27FC236}">
                <a16:creationId xmlns:a16="http://schemas.microsoft.com/office/drawing/2014/main" id="{426269A6-1A40-43C7-A172-B551A71A3B86}"/>
              </a:ext>
            </a:extLst>
          </p:cNvPr>
          <p:cNvSpPr>
            <a:spLocks noChangeShapeType="1"/>
          </p:cNvSpPr>
          <p:nvPr/>
        </p:nvSpPr>
        <p:spPr bwMode="auto">
          <a:xfrm flipV="1">
            <a:off x="8627755" y="3647649"/>
            <a:ext cx="0" cy="672337"/>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61" name="Line 15">
            <a:extLst>
              <a:ext uri="{FF2B5EF4-FFF2-40B4-BE49-F238E27FC236}">
                <a16:creationId xmlns:a16="http://schemas.microsoft.com/office/drawing/2014/main" id="{002CC1DF-7D1C-4A21-B69B-B3D678418D5F}"/>
              </a:ext>
            </a:extLst>
          </p:cNvPr>
          <p:cNvSpPr>
            <a:spLocks noChangeShapeType="1"/>
          </p:cNvSpPr>
          <p:nvPr/>
        </p:nvSpPr>
        <p:spPr bwMode="auto">
          <a:xfrm flipV="1">
            <a:off x="8627755" y="2663156"/>
            <a:ext cx="0" cy="768385"/>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62" name="Line 16">
            <a:extLst>
              <a:ext uri="{FF2B5EF4-FFF2-40B4-BE49-F238E27FC236}">
                <a16:creationId xmlns:a16="http://schemas.microsoft.com/office/drawing/2014/main" id="{5131CD87-51EF-490F-9DE6-8BF3015F8CD8}"/>
              </a:ext>
            </a:extLst>
          </p:cNvPr>
          <p:cNvSpPr>
            <a:spLocks noChangeShapeType="1"/>
          </p:cNvSpPr>
          <p:nvPr/>
        </p:nvSpPr>
        <p:spPr bwMode="auto">
          <a:xfrm flipV="1">
            <a:off x="11334921" y="2663156"/>
            <a:ext cx="0" cy="768385"/>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63" name="Line 17">
            <a:extLst>
              <a:ext uri="{FF2B5EF4-FFF2-40B4-BE49-F238E27FC236}">
                <a16:creationId xmlns:a16="http://schemas.microsoft.com/office/drawing/2014/main" id="{3AF3AED8-D2B4-45EF-B9E7-36FCCD2533C6}"/>
              </a:ext>
            </a:extLst>
          </p:cNvPr>
          <p:cNvSpPr>
            <a:spLocks noChangeShapeType="1"/>
          </p:cNvSpPr>
          <p:nvPr/>
        </p:nvSpPr>
        <p:spPr bwMode="auto">
          <a:xfrm>
            <a:off x="11148219" y="2663156"/>
            <a:ext cx="0" cy="768385"/>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a:ea typeface="+mn-ea"/>
              <a:cs typeface="+mn-cs"/>
            </a:endParaRPr>
          </a:p>
        </p:txBody>
      </p:sp>
      <p:graphicFrame>
        <p:nvGraphicFramePr>
          <p:cNvPr id="7" name="Content Placeholder 6">
            <a:extLst>
              <a:ext uri="{FF2B5EF4-FFF2-40B4-BE49-F238E27FC236}">
                <a16:creationId xmlns:a16="http://schemas.microsoft.com/office/drawing/2014/main" id="{ED3B8C91-DEC0-41B6-8662-E0730E77150B}"/>
              </a:ext>
            </a:extLst>
          </p:cNvPr>
          <p:cNvGraphicFramePr>
            <a:graphicFrameLocks noGrp="1"/>
          </p:cNvGraphicFramePr>
          <p:nvPr>
            <p:ph sz="quarter" idx="13"/>
          </p:nvPr>
        </p:nvGraphicFramePr>
        <p:xfrm>
          <a:off x="655638" y="1074656"/>
          <a:ext cx="6206049" cy="515310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20" name="Group 19">
            <a:extLst>
              <a:ext uri="{FF2B5EF4-FFF2-40B4-BE49-F238E27FC236}">
                <a16:creationId xmlns:a16="http://schemas.microsoft.com/office/drawing/2014/main" id="{6AAD06DB-DD35-41A2-91F2-69E63D67B9B1}"/>
              </a:ext>
            </a:extLst>
          </p:cNvPr>
          <p:cNvGrpSpPr/>
          <p:nvPr/>
        </p:nvGrpSpPr>
        <p:grpSpPr>
          <a:xfrm>
            <a:off x="8067653" y="4384013"/>
            <a:ext cx="1046156" cy="1072546"/>
            <a:chOff x="4963829" y="4298078"/>
            <a:chExt cx="1393773" cy="1547244"/>
          </a:xfrm>
        </p:grpSpPr>
        <p:sp>
          <p:nvSpPr>
            <p:cNvPr id="21" name="Cylinder 20">
              <a:extLst>
                <a:ext uri="{FF2B5EF4-FFF2-40B4-BE49-F238E27FC236}">
                  <a16:creationId xmlns:a16="http://schemas.microsoft.com/office/drawing/2014/main" id="{85D24308-DD49-45E5-819C-0837B5B7F32B}"/>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22" name="Cylinder 21">
              <a:extLst>
                <a:ext uri="{FF2B5EF4-FFF2-40B4-BE49-F238E27FC236}">
                  <a16:creationId xmlns:a16="http://schemas.microsoft.com/office/drawing/2014/main" id="{5D92FE76-490E-4483-B1FD-DF4364754E90}"/>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23" name="Cylinder 22">
              <a:extLst>
                <a:ext uri="{FF2B5EF4-FFF2-40B4-BE49-F238E27FC236}">
                  <a16:creationId xmlns:a16="http://schemas.microsoft.com/office/drawing/2014/main" id="{F150EBF8-25A0-497D-8ACC-ADC7446088F6}"/>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28" name="Group 27">
            <a:extLst>
              <a:ext uri="{FF2B5EF4-FFF2-40B4-BE49-F238E27FC236}">
                <a16:creationId xmlns:a16="http://schemas.microsoft.com/office/drawing/2014/main" id="{E6B2DB65-525D-40FC-A9A9-A2D41D0CF174}"/>
              </a:ext>
            </a:extLst>
          </p:cNvPr>
          <p:cNvGrpSpPr/>
          <p:nvPr/>
        </p:nvGrpSpPr>
        <p:grpSpPr>
          <a:xfrm>
            <a:off x="9411586" y="4384013"/>
            <a:ext cx="1046156" cy="1072546"/>
            <a:chOff x="4963829" y="4298078"/>
            <a:chExt cx="1393773" cy="1547244"/>
          </a:xfrm>
        </p:grpSpPr>
        <p:sp>
          <p:nvSpPr>
            <p:cNvPr id="29" name="Cylinder 28">
              <a:extLst>
                <a:ext uri="{FF2B5EF4-FFF2-40B4-BE49-F238E27FC236}">
                  <a16:creationId xmlns:a16="http://schemas.microsoft.com/office/drawing/2014/main" id="{DAFD4AED-0B2F-4CD0-A999-049182048A3A}"/>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30" name="Cylinder 29">
              <a:extLst>
                <a:ext uri="{FF2B5EF4-FFF2-40B4-BE49-F238E27FC236}">
                  <a16:creationId xmlns:a16="http://schemas.microsoft.com/office/drawing/2014/main" id="{21AA5626-4A2F-431A-A983-092FEA455304}"/>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31" name="Cylinder 30">
              <a:extLst>
                <a:ext uri="{FF2B5EF4-FFF2-40B4-BE49-F238E27FC236}">
                  <a16:creationId xmlns:a16="http://schemas.microsoft.com/office/drawing/2014/main" id="{3448E769-184C-4084-905A-F560056A0E76}"/>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32" name="Group 31">
            <a:extLst>
              <a:ext uri="{FF2B5EF4-FFF2-40B4-BE49-F238E27FC236}">
                <a16:creationId xmlns:a16="http://schemas.microsoft.com/office/drawing/2014/main" id="{D75E88C6-E5E5-4655-B171-079438392C22}"/>
              </a:ext>
            </a:extLst>
          </p:cNvPr>
          <p:cNvGrpSpPr/>
          <p:nvPr/>
        </p:nvGrpSpPr>
        <p:grpSpPr>
          <a:xfrm>
            <a:off x="10755518" y="4384013"/>
            <a:ext cx="1046156" cy="1072546"/>
            <a:chOff x="4963829" y="4298078"/>
            <a:chExt cx="1393773" cy="1547244"/>
          </a:xfrm>
        </p:grpSpPr>
        <p:sp>
          <p:nvSpPr>
            <p:cNvPr id="33" name="Cylinder 32">
              <a:extLst>
                <a:ext uri="{FF2B5EF4-FFF2-40B4-BE49-F238E27FC236}">
                  <a16:creationId xmlns:a16="http://schemas.microsoft.com/office/drawing/2014/main" id="{B248B2BD-3244-4618-982A-3745FB5DD36A}"/>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34" name="Cylinder 33">
              <a:extLst>
                <a:ext uri="{FF2B5EF4-FFF2-40B4-BE49-F238E27FC236}">
                  <a16:creationId xmlns:a16="http://schemas.microsoft.com/office/drawing/2014/main" id="{E57A45F2-32DE-40FC-8D33-361AC7B2F4AD}"/>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35" name="Cylinder 34">
              <a:extLst>
                <a:ext uri="{FF2B5EF4-FFF2-40B4-BE49-F238E27FC236}">
                  <a16:creationId xmlns:a16="http://schemas.microsoft.com/office/drawing/2014/main" id="{028E6C38-8843-42F2-9A55-ECF0B1D91C38}"/>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spTree>
    <p:custDataLst>
      <p:tags r:id="rId1"/>
    </p:custDataLst>
    <p:extLst>
      <p:ext uri="{BB962C8B-B14F-4D97-AF65-F5344CB8AC3E}">
        <p14:creationId xmlns:p14="http://schemas.microsoft.com/office/powerpoint/2010/main" val="41743312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DB65A-4339-4CFB-AD24-A4A95429031D}"/>
              </a:ext>
            </a:extLst>
          </p:cNvPr>
          <p:cNvSpPr>
            <a:spLocks noGrp="1"/>
          </p:cNvSpPr>
          <p:nvPr>
            <p:ph type="title"/>
          </p:nvPr>
        </p:nvSpPr>
        <p:spPr/>
        <p:txBody>
          <a:bodyPr/>
          <a:lstStyle/>
          <a:p>
            <a:r>
              <a:rPr lang="en-US" dirty="0"/>
              <a:t>SET STATISTICS IO</a:t>
            </a:r>
          </a:p>
        </p:txBody>
      </p:sp>
      <p:sp>
        <p:nvSpPr>
          <p:cNvPr id="12" name="TextBox 11">
            <a:extLst>
              <a:ext uri="{FF2B5EF4-FFF2-40B4-BE49-F238E27FC236}">
                <a16:creationId xmlns:a16="http://schemas.microsoft.com/office/drawing/2014/main" id="{D31043FA-3475-402A-859E-D648C523D4F5}"/>
              </a:ext>
            </a:extLst>
          </p:cNvPr>
          <p:cNvSpPr txBox="1"/>
          <p:nvPr/>
        </p:nvSpPr>
        <p:spPr>
          <a:xfrm>
            <a:off x="1030664" y="1079184"/>
            <a:ext cx="4788721" cy="2800767"/>
          </a:xfrm>
          <a:prstGeom prst="rect">
            <a:avLst/>
          </a:prstGeom>
          <a:noFill/>
          <a:ln w="19050">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T</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TATISTICS</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IO</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endPar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GO</a:t>
            </a:r>
            <a:endPar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T</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TATISTICS</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TIME</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endPar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SOH</a:t>
            </a:r>
            <a:r>
              <a:rPr kumimoji="0" lang="en-US" sz="16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1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SalesOrderID</a:t>
            </a:r>
            <a:r>
              <a:rPr kumimoji="0" lang="en-US" sz="16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SOH</a:t>
            </a:r>
            <a:r>
              <a:rPr kumimoji="0" lang="en-US" sz="16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1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CustomerID</a:t>
            </a:r>
            <a:r>
              <a:rPr kumimoji="0" lang="en-US" sz="16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OrderQty</a:t>
            </a:r>
            <a:r>
              <a:rPr kumimoji="0" lang="en-US" sz="16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UnitPrice</a:t>
            </a:r>
            <a:r>
              <a:rPr kumimoji="0" lang="en-US" sz="16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P</a:t>
            </a:r>
            <a:r>
              <a:rPr kumimoji="0" lang="en-US" sz="16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1600" b="0" i="0" u="none" strike="noStrike" kern="1200" cap="none" spc="0" normalizeH="0" baseline="0" noProof="0" dirty="0" err="1">
                <a:ln>
                  <a:noFill/>
                </a:ln>
                <a:solidFill>
                  <a:srgbClr val="0000FF"/>
                </a:solidFill>
                <a:effectLst/>
                <a:uLnTx/>
                <a:uFillTx/>
                <a:latin typeface="Consolas" panose="020B0609020204030204" pitchFamily="49" charset="0"/>
                <a:ea typeface="+mn-ea"/>
                <a:cs typeface="+mn-cs"/>
              </a:rPr>
              <a:t>Name</a:t>
            </a:r>
            <a:endPar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Sales</a:t>
            </a:r>
            <a:r>
              <a:rPr kumimoji="0" lang="en-US" sz="16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1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SalesOrderHeader</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O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JOIN</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Sales</a:t>
            </a:r>
            <a:r>
              <a:rPr kumimoji="0" lang="en-US" sz="16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1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SalesOrderDetail</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SOH</a:t>
            </a:r>
            <a:r>
              <a:rPr kumimoji="0" lang="en-US" sz="16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1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SalesOrderID</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SOD</a:t>
            </a:r>
            <a:r>
              <a:rPr kumimoji="0" lang="en-US" sz="16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1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SalesOrderID</a:t>
            </a:r>
            <a:endPar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JOIN</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Production</a:t>
            </a:r>
            <a:r>
              <a:rPr kumimoji="0" lang="en-US" sz="16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1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Product</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P</a:t>
            </a:r>
            <a:r>
              <a:rPr kumimoji="0" lang="en-US" sz="16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1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ProductID</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SOD</a:t>
            </a:r>
            <a:r>
              <a:rPr kumimoji="0" lang="en-US" sz="1600" b="0" i="0" u="none" strike="noStrike" kern="1200" cap="none" spc="0" normalizeH="0" baseline="0" noProof="0" dirty="0" err="1">
                <a:ln>
                  <a:noFill/>
                </a:ln>
                <a:solidFill>
                  <a:srgbClr val="808080"/>
                </a:solidFill>
                <a:effectLst/>
                <a:uLnTx/>
                <a:uFillTx/>
                <a:latin typeface="Consolas" panose="020B0609020204030204" pitchFamily="49" charset="0"/>
                <a:ea typeface="+mn-ea"/>
                <a:cs typeface="+mn-cs"/>
              </a:rPr>
              <a:t>.</a:t>
            </a:r>
            <a:r>
              <a:rPr kumimoji="0" lang="en-US" sz="16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ProductID</a:t>
            </a:r>
            <a:endPar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T</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TATISTICS</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IO</a:t>
            </a:r>
            <a:r>
              <a:rPr kumimoji="0" lang="en-US" sz="16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TIME</a:t>
            </a:r>
            <a:r>
              <a:rPr kumimoji="0" lang="en-US" sz="16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6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FF</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TextBox 14">
            <a:extLst>
              <a:ext uri="{FF2B5EF4-FFF2-40B4-BE49-F238E27FC236}">
                <a16:creationId xmlns:a16="http://schemas.microsoft.com/office/drawing/2014/main" id="{371ED342-CFFA-47F0-9C2C-6291AE05F28A}"/>
              </a:ext>
            </a:extLst>
          </p:cNvPr>
          <p:cNvSpPr txBox="1"/>
          <p:nvPr/>
        </p:nvSpPr>
        <p:spPr>
          <a:xfrm>
            <a:off x="7154945" y="1834967"/>
            <a:ext cx="4006391" cy="160043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Segoe UI"/>
                <a:ea typeface="+mn-ea"/>
                <a:cs typeface="+mn-cs"/>
              </a:rPr>
              <a:t>Used to identify physical reads and logical reads for a quer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pic>
        <p:nvPicPr>
          <p:cNvPr id="19" name="Picture 18">
            <a:extLst>
              <a:ext uri="{FF2B5EF4-FFF2-40B4-BE49-F238E27FC236}">
                <a16:creationId xmlns:a16="http://schemas.microsoft.com/office/drawing/2014/main" id="{BE8B8688-31F8-4377-A61A-8700BC00AD0B}"/>
              </a:ext>
            </a:extLst>
          </p:cNvPr>
          <p:cNvPicPr>
            <a:picLocks noChangeAspect="1"/>
          </p:cNvPicPr>
          <p:nvPr/>
        </p:nvPicPr>
        <p:blipFill>
          <a:blip r:embed="rId3"/>
          <a:stretch>
            <a:fillRect/>
          </a:stretch>
        </p:blipFill>
        <p:spPr>
          <a:xfrm>
            <a:off x="1808604" y="4058654"/>
            <a:ext cx="8574791" cy="203750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8476231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otal Query Response Time</a:t>
            </a:r>
          </a:p>
        </p:txBody>
      </p:sp>
      <p:sp>
        <p:nvSpPr>
          <p:cNvPr id="2" name="Text Placeholder 1"/>
          <p:cNvSpPr>
            <a:spLocks noGrp="1"/>
          </p:cNvSpPr>
          <p:nvPr>
            <p:ph sz="quarter" idx="13"/>
          </p:nvPr>
        </p:nvSpPr>
        <p:spPr/>
        <p:txBody>
          <a:bodyPr/>
          <a:lstStyle/>
          <a:p>
            <a:r>
              <a:rPr lang="en-US" dirty="0">
                <a:solidFill>
                  <a:srgbClr val="000000"/>
                </a:solidFill>
              </a:rPr>
              <a:t>The full cycle between the several task states, for how many times it needs to cycle, is what we experience as the total query response time.</a:t>
            </a:r>
          </a:p>
          <a:p>
            <a:endParaRPr lang="en-US" dirty="0">
              <a:solidFill>
                <a:srgbClr val="000000"/>
              </a:solidFill>
            </a:endParaRPr>
          </a:p>
          <a:p>
            <a:endParaRPr lang="en-US" dirty="0">
              <a:solidFill>
                <a:srgbClr val="000000"/>
              </a:solidFill>
            </a:endParaRPr>
          </a:p>
        </p:txBody>
      </p:sp>
      <p:graphicFrame>
        <p:nvGraphicFramePr>
          <p:cNvPr id="6" name="Content Placeholder 4"/>
          <p:cNvGraphicFramePr>
            <a:graphicFrameLocks/>
          </p:cNvGraphicFramePr>
          <p:nvPr/>
        </p:nvGraphicFramePr>
        <p:xfrm>
          <a:off x="792154" y="2681979"/>
          <a:ext cx="10711966" cy="3436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2982403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9979A-6B56-439A-AC85-1A915ECDFB7C}"/>
              </a:ext>
            </a:extLst>
          </p:cNvPr>
          <p:cNvSpPr>
            <a:spLocks noGrp="1"/>
          </p:cNvSpPr>
          <p:nvPr>
            <p:ph type="title"/>
          </p:nvPr>
        </p:nvSpPr>
        <p:spPr/>
        <p:txBody>
          <a:bodyPr/>
          <a:lstStyle/>
          <a:p>
            <a:r>
              <a:rPr lang="en-US" dirty="0"/>
              <a:t>Checkpoints</a:t>
            </a:r>
          </a:p>
        </p:txBody>
      </p:sp>
      <p:sp>
        <p:nvSpPr>
          <p:cNvPr id="4" name="Content Placeholder 3">
            <a:extLst>
              <a:ext uri="{FF2B5EF4-FFF2-40B4-BE49-F238E27FC236}">
                <a16:creationId xmlns:a16="http://schemas.microsoft.com/office/drawing/2014/main" id="{AEEA4260-17E9-4E74-91A2-0BAABFCF61CD}"/>
              </a:ext>
            </a:extLst>
          </p:cNvPr>
          <p:cNvSpPr>
            <a:spLocks noGrp="1"/>
          </p:cNvSpPr>
          <p:nvPr>
            <p:ph sz="quarter" idx="13"/>
          </p:nvPr>
        </p:nvSpPr>
        <p:spPr>
          <a:xfrm>
            <a:off x="655638" y="1112363"/>
            <a:ext cx="10880726" cy="5115401"/>
          </a:xfrm>
        </p:spPr>
        <p:txBody>
          <a:bodyPr/>
          <a:lstStyle/>
          <a:p>
            <a:pPr marL="0" indent="0">
              <a:buNone/>
            </a:pPr>
            <a:r>
              <a:rPr lang="en-US" dirty="0"/>
              <a:t>Flushes dirty pages from the buffer pool to the disk. Frequency of checkpoints varies based on the database activity and recovery interval.</a:t>
            </a:r>
          </a:p>
        </p:txBody>
      </p:sp>
      <p:graphicFrame>
        <p:nvGraphicFramePr>
          <p:cNvPr id="8" name="Diagram 7">
            <a:extLst>
              <a:ext uri="{FF2B5EF4-FFF2-40B4-BE49-F238E27FC236}">
                <a16:creationId xmlns:a16="http://schemas.microsoft.com/office/drawing/2014/main" id="{F898D04E-C7D9-4424-A2BA-37A2DEF0FA9C}"/>
              </a:ext>
            </a:extLst>
          </p:cNvPr>
          <p:cNvGraphicFramePr/>
          <p:nvPr/>
        </p:nvGraphicFramePr>
        <p:xfrm>
          <a:off x="920262" y="2115879"/>
          <a:ext cx="9906000" cy="42636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5E95A65F-EA2D-4E07-959D-155EDC10D38C}"/>
              </a:ext>
            </a:extLst>
          </p:cNvPr>
          <p:cNvSpPr/>
          <p:nvPr/>
        </p:nvSpPr>
        <p:spPr>
          <a:xfrm>
            <a:off x="1903210" y="4065879"/>
            <a:ext cx="7940104" cy="370055"/>
          </a:xfrm>
          <a:prstGeom prst="rect">
            <a:avLst/>
          </a:prstGeom>
          <a:ln>
            <a:noFill/>
          </a:ln>
          <a:effectLst/>
        </p:spPr>
        <p:txBody>
          <a:bodyPr wrap="square">
            <a:noAutofit/>
          </a:bodyPr>
          <a:lstStyle/>
          <a:p>
            <a:pPr marL="0" marR="0" lvl="1" indent="-35560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FF"/>
                </a:solidFill>
                <a:effectLst/>
                <a:uLnTx/>
                <a:uFillTx/>
                <a:latin typeface="Lucida Console" panose="020B0609040504020204" pitchFamily="49" charset="0"/>
                <a:ea typeface="+mn-ea"/>
                <a:cs typeface="+mn-cs"/>
              </a:rPr>
              <a:t>ALTER DATABASE</a:t>
            </a:r>
            <a:r>
              <a:rPr kumimoji="0" lang="en-US" sz="1400" b="0" i="0" u="none" strike="noStrike" kern="1200" cap="none" spc="0" normalizeH="0" baseline="0" noProof="0" dirty="0">
                <a:ln>
                  <a:noFill/>
                </a:ln>
                <a:solidFill>
                  <a:srgbClr val="000000"/>
                </a:solidFill>
                <a:effectLst/>
                <a:uLnTx/>
                <a:uFillTx/>
                <a:latin typeface="Lucida Console" panose="020B0609040504020204" pitchFamily="49" charset="0"/>
                <a:ea typeface="+mn-ea"/>
                <a:cs typeface="+mn-cs"/>
              </a:rPr>
              <a:t> [AdventureWorksPTO] </a:t>
            </a:r>
            <a:r>
              <a:rPr kumimoji="0" lang="en-US" sz="1400" b="0" i="0" u="none" strike="noStrike" kern="1200" cap="none" spc="0" normalizeH="0" baseline="0" noProof="0" dirty="0">
                <a:ln>
                  <a:noFill/>
                </a:ln>
                <a:solidFill>
                  <a:srgbClr val="0000FF"/>
                </a:solidFill>
                <a:effectLst/>
                <a:uLnTx/>
                <a:uFillTx/>
                <a:latin typeface="Lucida Console" panose="020B0609040504020204" pitchFamily="49" charset="0"/>
                <a:ea typeface="+mn-ea"/>
                <a:cs typeface="+mn-cs"/>
              </a:rPr>
              <a:t>SET</a:t>
            </a:r>
            <a:r>
              <a:rPr kumimoji="0" lang="en-US" sz="1400" b="0" i="0" u="none" strike="noStrike" kern="1200" cap="none" spc="0" normalizeH="0" baseline="0" noProof="0" dirty="0">
                <a:ln>
                  <a:noFill/>
                </a:ln>
                <a:solidFill>
                  <a:srgbClr val="000000"/>
                </a:solidFill>
                <a:effectLst/>
                <a:uLnTx/>
                <a:uFillTx/>
                <a:latin typeface="Lucida Console" panose="020B0609040504020204" pitchFamily="49" charset="0"/>
                <a:ea typeface="+mn-ea"/>
                <a:cs typeface="+mn-cs"/>
              </a:rPr>
              <a:t> TARGET_RECOVERY_TIME = 60 SECONDS</a:t>
            </a:r>
          </a:p>
        </p:txBody>
      </p:sp>
    </p:spTree>
    <p:extLst>
      <p:ext uri="{BB962C8B-B14F-4D97-AF65-F5344CB8AC3E}">
        <p14:creationId xmlns:p14="http://schemas.microsoft.com/office/powerpoint/2010/main" val="36210612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Introduction to SQL Operating System</a:t>
            </a:r>
          </a:p>
        </p:txBody>
      </p:sp>
    </p:spTree>
    <p:extLst>
      <p:ext uri="{BB962C8B-B14F-4D97-AF65-F5344CB8AC3E}">
        <p14:creationId xmlns:p14="http://schemas.microsoft.com/office/powerpoint/2010/main" val="40837460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Understand Microsoft SQL Server Architecture Overview.</a:t>
            </a:r>
          </a:p>
          <a:p>
            <a:r>
              <a:rPr lang="en-US"/>
              <a:t>Learn SQL Server Operating System (SQLOS) Component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11CB2BC7-71D6-4346-B977-512D58E34EEB}"/>
              </a:ext>
            </a:extLst>
          </p:cNvPr>
          <p:cNvSpPr/>
          <p:nvPr/>
        </p:nvSpPr>
        <p:spPr bwMode="auto">
          <a:xfrm>
            <a:off x="1516825" y="1761553"/>
            <a:ext cx="9354375" cy="26668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p:cNvSpPr>
            <a:spLocks noGrp="1"/>
          </p:cNvSpPr>
          <p:nvPr>
            <p:ph type="title"/>
          </p:nvPr>
        </p:nvSpPr>
        <p:spPr>
          <a:xfrm>
            <a:off x="460188" y="144626"/>
            <a:ext cx="10880725" cy="461665"/>
          </a:xfrm>
        </p:spPr>
        <p:txBody>
          <a:bodyPr/>
          <a:lstStyle/>
          <a:p>
            <a:r>
              <a:rPr lang="en-US" dirty="0"/>
              <a:t>Inside the Database Engine</a:t>
            </a:r>
          </a:p>
        </p:txBody>
      </p:sp>
      <p:sp>
        <p:nvSpPr>
          <p:cNvPr id="6" name="Rectangle 4"/>
          <p:cNvSpPr>
            <a:spLocks noChangeArrowheads="1"/>
          </p:cNvSpPr>
          <p:nvPr/>
        </p:nvSpPr>
        <p:spPr bwMode="auto">
          <a:xfrm>
            <a:off x="2225964" y="4580058"/>
            <a:ext cx="8645236" cy="1747375"/>
          </a:xfrm>
          <a:prstGeom prst="rect">
            <a:avLst/>
          </a:prstGeom>
          <a:solidFill>
            <a:schemeClr val="accent1">
              <a:lumMod val="20000"/>
              <a:lumOff val="80000"/>
            </a:schemeClr>
          </a:solidFill>
          <a:ln w="9525">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solidFill>
                <a:srgbClr val="E6E6E6"/>
              </a:solidFill>
              <a:effectLst/>
              <a:uLnTx/>
              <a:uFillTx/>
              <a:latin typeface="Segoe UI"/>
              <a:ea typeface="+mn-ea"/>
              <a:cs typeface="+mn-cs"/>
            </a:endParaRPr>
          </a:p>
        </p:txBody>
      </p:sp>
      <p:sp>
        <p:nvSpPr>
          <p:cNvPr id="9" name="Rectangle 20"/>
          <p:cNvSpPr>
            <a:spLocks noChangeArrowheads="1"/>
          </p:cNvSpPr>
          <p:nvPr/>
        </p:nvSpPr>
        <p:spPr bwMode="auto">
          <a:xfrm>
            <a:off x="2335009" y="3912298"/>
            <a:ext cx="8335984" cy="342945"/>
          </a:xfrm>
          <a:prstGeom prst="rect">
            <a:avLst/>
          </a:prstGeom>
          <a:solidFill>
            <a:srgbClr val="FFC000"/>
          </a:solidFill>
          <a:ln w="9525">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a:ea typeface="+mn-ea"/>
                <a:cs typeface="+mn-cs"/>
              </a:rPr>
              <a:t>SQLOS API</a:t>
            </a:r>
          </a:p>
        </p:txBody>
      </p:sp>
      <p:sp>
        <p:nvSpPr>
          <p:cNvPr id="10" name="Rectangle 30"/>
          <p:cNvSpPr>
            <a:spLocks noChangeArrowheads="1"/>
          </p:cNvSpPr>
          <p:nvPr/>
        </p:nvSpPr>
        <p:spPr bwMode="auto">
          <a:xfrm>
            <a:off x="2225964" y="1160594"/>
            <a:ext cx="8645236" cy="508594"/>
          </a:xfrm>
          <a:prstGeom prst="rect">
            <a:avLst/>
          </a:prstGeom>
          <a:solidFill>
            <a:srgbClr val="008080"/>
          </a:solidFill>
          <a:ln w="9525">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Protoco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Shared Memory / TCP / Named Pipes</a:t>
            </a:r>
            <a:endParaRPr kumimoji="0" lang="en-US" sz="1568"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31"/>
          <p:cNvSpPr>
            <a:spLocks noChangeArrowheads="1"/>
          </p:cNvSpPr>
          <p:nvPr/>
        </p:nvSpPr>
        <p:spPr bwMode="auto">
          <a:xfrm>
            <a:off x="2335352" y="1858705"/>
            <a:ext cx="3216210" cy="2023498"/>
          </a:xfrm>
          <a:prstGeom prst="rect">
            <a:avLst/>
          </a:prstGeom>
          <a:solidFill>
            <a:schemeClr val="accent4"/>
          </a:solidFill>
          <a:ln w="9525">
            <a:noFill/>
            <a:miter lim="800000"/>
            <a:headEnd/>
            <a:tailEnd/>
          </a:ln>
          <a:effectLst/>
        </p:spPr>
        <p:txBody>
          <a:bodyPr wrap="none"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Relational Engine</a:t>
            </a:r>
          </a:p>
        </p:txBody>
      </p:sp>
      <p:sp>
        <p:nvSpPr>
          <p:cNvPr id="12" name="Rectangle 11"/>
          <p:cNvSpPr/>
          <p:nvPr/>
        </p:nvSpPr>
        <p:spPr>
          <a:xfrm>
            <a:off x="2632511" y="2363862"/>
            <a:ext cx="1265816" cy="614055"/>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Parser and Algebriz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Rectangle 12"/>
          <p:cNvSpPr/>
          <p:nvPr/>
        </p:nvSpPr>
        <p:spPr>
          <a:xfrm>
            <a:off x="3995161" y="2363862"/>
            <a:ext cx="1265816" cy="614055"/>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Query Optimiz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Rectangle 14"/>
          <p:cNvSpPr/>
          <p:nvPr/>
        </p:nvSpPr>
        <p:spPr>
          <a:xfrm>
            <a:off x="3995161" y="3055322"/>
            <a:ext cx="1265816" cy="614055"/>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000000"/>
                </a:solidFill>
                <a:effectLst/>
                <a:uLnTx/>
                <a:uFillTx/>
                <a:latin typeface="Segoe UI"/>
                <a:ea typeface="+mn-ea"/>
                <a:cs typeface="+mn-cs"/>
              </a:rPr>
              <a:t>Query Executor</a:t>
            </a:r>
            <a:endParaRPr kumimoji="0" lang="pt-PT" sz="1372" b="0" i="0" u="none" strike="noStrike" kern="1200" cap="none" spc="0" normalizeH="0" baseline="0" noProof="0">
              <a:ln>
                <a:noFill/>
              </a:ln>
              <a:solidFill>
                <a:srgbClr val="000000"/>
              </a:solidFill>
              <a:effectLst/>
              <a:uLnTx/>
              <a:uFillTx/>
              <a:latin typeface="Segoe UI"/>
              <a:ea typeface="+mn-ea"/>
              <a:cs typeface="+mn-cs"/>
            </a:endParaRPr>
          </a:p>
        </p:txBody>
      </p:sp>
      <p:sp>
        <p:nvSpPr>
          <p:cNvPr id="16" name="Down Arrow 15"/>
          <p:cNvSpPr/>
          <p:nvPr/>
        </p:nvSpPr>
        <p:spPr>
          <a:xfrm>
            <a:off x="6191950" y="848285"/>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24"/>
          <p:cNvSpPr>
            <a:spLocks noChangeArrowheads="1"/>
          </p:cNvSpPr>
          <p:nvPr/>
        </p:nvSpPr>
        <p:spPr bwMode="auto">
          <a:xfrm>
            <a:off x="5685863" y="1855523"/>
            <a:ext cx="4989312" cy="2025730"/>
          </a:xfrm>
          <a:prstGeom prst="rect">
            <a:avLst/>
          </a:prstGeom>
          <a:solidFill>
            <a:schemeClr val="accent4"/>
          </a:solidFill>
          <a:ln w="9525">
            <a:noFill/>
            <a:miter lim="800000"/>
            <a:headEnd/>
            <a:tailEnd/>
          </a:ln>
          <a:effectLst/>
        </p:spPr>
        <p:txBody>
          <a:bodyPr wrap="none"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Storage Engine</a:t>
            </a:r>
          </a:p>
        </p:txBody>
      </p:sp>
      <p:grpSp>
        <p:nvGrpSpPr>
          <p:cNvPr id="18" name="Group 17"/>
          <p:cNvGrpSpPr/>
          <p:nvPr/>
        </p:nvGrpSpPr>
        <p:grpSpPr>
          <a:xfrm>
            <a:off x="6076663" y="2363861"/>
            <a:ext cx="4207714" cy="1305516"/>
            <a:chOff x="5307512" y="2389071"/>
            <a:chExt cx="4292087" cy="1232837"/>
          </a:xfrm>
          <a:solidFill>
            <a:schemeClr val="accent5">
              <a:lumMod val="40000"/>
              <a:lumOff val="60000"/>
            </a:schemeClr>
          </a:solidFill>
        </p:grpSpPr>
        <p:sp>
          <p:nvSpPr>
            <p:cNvPr id="19" name="Rectangle 18"/>
            <p:cNvSpPr/>
            <p:nvPr/>
          </p:nvSpPr>
          <p:spPr>
            <a:xfrm>
              <a:off x="8308401" y="3249033"/>
              <a:ext cx="1291198" cy="372874"/>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Transaction Services</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Rectangle 19"/>
            <p:cNvSpPr/>
            <p:nvPr/>
          </p:nvSpPr>
          <p:spPr>
            <a:xfrm>
              <a:off x="8308401" y="2833121"/>
              <a:ext cx="1291198" cy="358920"/>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File Manag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Rectangle 20"/>
            <p:cNvSpPr/>
            <p:nvPr/>
          </p:nvSpPr>
          <p:spPr>
            <a:xfrm>
              <a:off x="8296307" y="2389071"/>
              <a:ext cx="1291198" cy="387057"/>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Buffer Manag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Rectangle 21"/>
            <p:cNvSpPr/>
            <p:nvPr/>
          </p:nvSpPr>
          <p:spPr>
            <a:xfrm>
              <a:off x="5307512" y="2389071"/>
              <a:ext cx="1548449" cy="1219525"/>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Access Metho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Pag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Recor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Index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LO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Versio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Allocation</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Rectangle 22"/>
            <p:cNvSpPr/>
            <p:nvPr/>
          </p:nvSpPr>
          <p:spPr>
            <a:xfrm>
              <a:off x="6941705" y="2389071"/>
              <a:ext cx="1293116" cy="1232837"/>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Utilities</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176" b="0" i="0" u="none" strike="noStrike" kern="1200" cap="none" spc="0" normalizeH="0" baseline="0" noProof="0" dirty="0">
                  <a:ln>
                    <a:noFill/>
                  </a:ln>
                  <a:solidFill>
                    <a:srgbClr val="000000"/>
                  </a:solidFill>
                  <a:effectLst/>
                  <a:uLnTx/>
                  <a:uFillTx/>
                  <a:latin typeface="Segoe UI"/>
                  <a:ea typeface="+mn-ea"/>
                  <a:cs typeface="+mn-cs"/>
                </a:rPr>
                <a:t>DBC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Bulk Lo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Backu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Restore</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4" name="Down Arrow 23"/>
          <p:cNvSpPr/>
          <p:nvPr/>
        </p:nvSpPr>
        <p:spPr>
          <a:xfrm>
            <a:off x="3811111" y="1616328"/>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Down Arrow 24"/>
          <p:cNvSpPr/>
          <p:nvPr/>
        </p:nvSpPr>
        <p:spPr>
          <a:xfrm rot="16200000">
            <a:off x="5524123" y="2733042"/>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Rectangle 25"/>
          <p:cNvSpPr/>
          <p:nvPr/>
        </p:nvSpPr>
        <p:spPr>
          <a:xfrm>
            <a:off x="2632511" y="3055322"/>
            <a:ext cx="1265816" cy="614055"/>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Query Compil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Down Arrow 26"/>
          <p:cNvSpPr/>
          <p:nvPr/>
        </p:nvSpPr>
        <p:spPr>
          <a:xfrm>
            <a:off x="3811111" y="3821080"/>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p:cNvGrpSpPr/>
          <p:nvPr/>
        </p:nvGrpSpPr>
        <p:grpSpPr>
          <a:xfrm>
            <a:off x="4858120" y="4640516"/>
            <a:ext cx="5181977" cy="1495480"/>
            <a:chOff x="3412344" y="4639837"/>
            <a:chExt cx="5285886" cy="1525467"/>
          </a:xfrm>
          <a:solidFill>
            <a:schemeClr val="tx2">
              <a:lumMod val="40000"/>
              <a:lumOff val="60000"/>
            </a:schemeClr>
          </a:solidFill>
        </p:grpSpPr>
        <p:sp>
          <p:nvSpPr>
            <p:cNvPr id="29" name="Rectangle 8"/>
            <p:cNvSpPr>
              <a:spLocks noChangeArrowheads="1"/>
            </p:cNvSpPr>
            <p:nvPr/>
          </p:nvSpPr>
          <p:spPr bwMode="auto">
            <a:xfrm>
              <a:off x="6590003" y="5146396"/>
              <a:ext cx="2108227" cy="5040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Thread Scheduling</a:t>
              </a:r>
            </a:p>
          </p:txBody>
        </p:sp>
        <p:sp>
          <p:nvSpPr>
            <p:cNvPr id="30" name="Rectangle 9"/>
            <p:cNvSpPr>
              <a:spLocks noChangeArrowheads="1"/>
            </p:cNvSpPr>
            <p:nvPr/>
          </p:nvSpPr>
          <p:spPr bwMode="auto">
            <a:xfrm>
              <a:off x="5602486" y="5641470"/>
              <a:ext cx="3095744" cy="5040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Memory Manager</a:t>
              </a:r>
            </a:p>
          </p:txBody>
        </p:sp>
        <p:sp>
          <p:nvSpPr>
            <p:cNvPr id="31" name="Rectangle 12"/>
            <p:cNvSpPr>
              <a:spLocks noChangeArrowheads="1"/>
            </p:cNvSpPr>
            <p:nvPr/>
          </p:nvSpPr>
          <p:spPr bwMode="auto">
            <a:xfrm>
              <a:off x="7198123" y="4639837"/>
              <a:ext cx="1500107" cy="5040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Synchronization</a:t>
              </a:r>
            </a:p>
          </p:txBody>
        </p:sp>
        <p:sp>
          <p:nvSpPr>
            <p:cNvPr id="32" name="Rectangle 10"/>
            <p:cNvSpPr>
              <a:spLocks noChangeArrowheads="1"/>
            </p:cNvSpPr>
            <p:nvPr/>
          </p:nvSpPr>
          <p:spPr bwMode="auto">
            <a:xfrm>
              <a:off x="3412344" y="5538904"/>
              <a:ext cx="1963575" cy="6264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Buffer</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Pool</a:t>
              </a:r>
            </a:p>
          </p:txBody>
        </p:sp>
      </p:grpSp>
      <p:sp>
        <p:nvSpPr>
          <p:cNvPr id="33" name="Rectangle 21"/>
          <p:cNvSpPr>
            <a:spLocks noChangeArrowheads="1"/>
          </p:cNvSpPr>
          <p:nvPr/>
        </p:nvSpPr>
        <p:spPr bwMode="auto">
          <a:xfrm>
            <a:off x="10110063" y="5137117"/>
            <a:ext cx="505355" cy="979434"/>
          </a:xfrm>
          <a:prstGeom prst="rect">
            <a:avLst/>
          </a:prstGeom>
          <a:solidFill>
            <a:schemeClr val="tx2">
              <a:lumMod val="40000"/>
              <a:lumOff val="60000"/>
            </a:schemeClr>
          </a:solid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I/O</a:t>
            </a:r>
          </a:p>
        </p:txBody>
      </p:sp>
      <p:sp>
        <p:nvSpPr>
          <p:cNvPr id="34" name="Rectangle 33"/>
          <p:cNvSpPr/>
          <p:nvPr/>
        </p:nvSpPr>
        <p:spPr>
          <a:xfrm>
            <a:off x="5865496" y="4797124"/>
            <a:ext cx="917600" cy="614055"/>
          </a:xfrm>
          <a:prstGeom prst="rect">
            <a:avLst/>
          </a:prstGeom>
          <a:solidFill>
            <a:schemeClr val="tx2">
              <a:lumMod val="40000"/>
              <a:lumOff val="60000"/>
            </a:schemeClr>
          </a:solid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Lock </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Manager</a:t>
            </a:r>
            <a:endParaRPr kumimoji="0" lang="pt-PT" sz="1372" b="0" i="0" u="none" strike="noStrike" kern="1200" cap="none" spc="0" normalizeH="0" baseline="0" noProof="0">
              <a:ln>
                <a:noFill/>
              </a:ln>
              <a:solidFill>
                <a:srgbClr val="FFFFFF"/>
              </a:solidFill>
              <a:effectLst/>
              <a:uLnTx/>
              <a:uFillTx/>
              <a:latin typeface="Segoe UI"/>
              <a:ea typeface="+mn-ea"/>
              <a:cs typeface="+mn-cs"/>
            </a:endParaRPr>
          </a:p>
        </p:txBody>
      </p:sp>
      <p:sp>
        <p:nvSpPr>
          <p:cNvPr id="35" name="Down Arrow 34"/>
          <p:cNvSpPr/>
          <p:nvPr/>
        </p:nvSpPr>
        <p:spPr>
          <a:xfrm rot="10800000">
            <a:off x="4387089" y="1616327"/>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Down Arrow 35"/>
          <p:cNvSpPr/>
          <p:nvPr/>
        </p:nvSpPr>
        <p:spPr>
          <a:xfrm rot="10800000">
            <a:off x="6525195" y="825983"/>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5"/>
          <p:cNvSpPr>
            <a:spLocks noChangeArrowheads="1"/>
          </p:cNvSpPr>
          <p:nvPr/>
        </p:nvSpPr>
        <p:spPr bwMode="auto">
          <a:xfrm>
            <a:off x="2495433" y="4797109"/>
            <a:ext cx="105500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Deadlock</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Monitor</a:t>
            </a:r>
          </a:p>
        </p:txBody>
      </p:sp>
      <p:sp>
        <p:nvSpPr>
          <p:cNvPr id="38" name="Rectangle 18"/>
          <p:cNvSpPr>
            <a:spLocks noChangeArrowheads="1"/>
          </p:cNvSpPr>
          <p:nvPr/>
        </p:nvSpPr>
        <p:spPr bwMode="auto">
          <a:xfrm>
            <a:off x="2495433" y="5521909"/>
            <a:ext cx="105500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Resource</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Monitor</a:t>
            </a:r>
          </a:p>
        </p:txBody>
      </p:sp>
      <p:sp>
        <p:nvSpPr>
          <p:cNvPr id="39" name="Rectangle 19"/>
          <p:cNvSpPr>
            <a:spLocks noChangeArrowheads="1"/>
          </p:cNvSpPr>
          <p:nvPr/>
        </p:nvSpPr>
        <p:spPr bwMode="auto">
          <a:xfrm>
            <a:off x="3675139" y="4797109"/>
            <a:ext cx="105500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Laz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Writer</a:t>
            </a:r>
          </a:p>
        </p:txBody>
      </p:sp>
      <p:sp>
        <p:nvSpPr>
          <p:cNvPr id="41" name="Line 26"/>
          <p:cNvSpPr>
            <a:spLocks noChangeShapeType="1"/>
          </p:cNvSpPr>
          <p:nvPr/>
        </p:nvSpPr>
        <p:spPr bwMode="auto">
          <a:xfrm flipH="1">
            <a:off x="11331676" y="4726789"/>
            <a:ext cx="380976" cy="1162"/>
          </a:xfrm>
          <a:prstGeom prst="line">
            <a:avLst/>
          </a:prstGeom>
          <a:noFill/>
          <a:ln w="25400">
            <a:solidFill>
              <a:schemeClr val="bg1"/>
            </a:solidFill>
            <a:round/>
            <a:headEnd type="none" w="lg" len="lg"/>
            <a:tailEnd type="triangle" w="lg" len="lg"/>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27"/>
          <p:cNvSpPr>
            <a:spLocks noChangeShapeType="1"/>
          </p:cNvSpPr>
          <p:nvPr/>
        </p:nvSpPr>
        <p:spPr bwMode="auto">
          <a:xfrm flipH="1">
            <a:off x="11331676" y="5507148"/>
            <a:ext cx="380976" cy="0"/>
          </a:xfrm>
          <a:prstGeom prst="line">
            <a:avLst/>
          </a:prstGeom>
          <a:noFill/>
          <a:ln w="25400">
            <a:solidFill>
              <a:schemeClr val="bg1"/>
            </a:solidFill>
            <a:round/>
            <a:headEnd type="none" w="lg" len="lg"/>
            <a:tailEnd type="triangle" w="lg" len="lg"/>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000000"/>
              </a:solidFill>
              <a:effectLst/>
              <a:uLnTx/>
              <a:uFillTx/>
              <a:latin typeface="Segoe UI"/>
              <a:ea typeface="+mn-ea"/>
              <a:cs typeface="+mn-cs"/>
            </a:endParaRPr>
          </a:p>
        </p:txBody>
      </p:sp>
      <p:sp>
        <p:nvSpPr>
          <p:cNvPr id="43" name="Rectangle 29"/>
          <p:cNvSpPr>
            <a:spLocks noChangeArrowheads="1"/>
          </p:cNvSpPr>
          <p:nvPr/>
        </p:nvSpPr>
        <p:spPr bwMode="auto">
          <a:xfrm>
            <a:off x="3675148" y="5521909"/>
            <a:ext cx="105500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Scheduler</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Monitor</a:t>
            </a:r>
          </a:p>
        </p:txBody>
      </p:sp>
      <p:sp>
        <p:nvSpPr>
          <p:cNvPr id="44" name="Rectangle 10"/>
          <p:cNvSpPr>
            <a:spLocks noChangeArrowheads="1"/>
          </p:cNvSpPr>
          <p:nvPr/>
        </p:nvSpPr>
        <p:spPr bwMode="auto">
          <a:xfrm>
            <a:off x="4862650" y="4797124"/>
            <a:ext cx="917600" cy="614055"/>
          </a:xfrm>
          <a:prstGeom prst="rect">
            <a:avLst/>
          </a:prstGeom>
          <a:solidFill>
            <a:schemeClr val="tx2">
              <a:lumMod val="40000"/>
              <a:lumOff val="60000"/>
            </a:schemeClr>
          </a:solid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XEvents</a:t>
            </a:r>
          </a:p>
        </p:txBody>
      </p:sp>
      <p:sp>
        <p:nvSpPr>
          <p:cNvPr id="3" name="Rectangle 5">
            <a:extLst>
              <a:ext uri="{FF2B5EF4-FFF2-40B4-BE49-F238E27FC236}">
                <a16:creationId xmlns:a16="http://schemas.microsoft.com/office/drawing/2014/main" id="{853C5D5E-3614-42C3-81BF-1E94044ADFBC}"/>
              </a:ext>
            </a:extLst>
          </p:cNvPr>
          <p:cNvSpPr>
            <a:spLocks noChangeArrowheads="1"/>
          </p:cNvSpPr>
          <p:nvPr/>
        </p:nvSpPr>
        <p:spPr bwMode="auto">
          <a:xfrm>
            <a:off x="682366" y="4708170"/>
            <a:ext cx="118538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onitoring</a:t>
            </a:r>
            <a:endParaRPr kumimoji="0" lang="en-US" sz="1372" b="0" i="0" u="none" strike="noStrike" kern="1200" cap="none" spc="0" normalizeH="0" baseline="0" noProof="0">
              <a:ln>
                <a:noFill/>
              </a:ln>
              <a:solidFill>
                <a:srgbClr val="FFFFFF"/>
              </a:solidFill>
              <a:effectLst/>
              <a:uLnTx/>
              <a:uFillTx/>
              <a:latin typeface="Segoe UI"/>
              <a:ea typeface="+mn-ea"/>
              <a:cs typeface="+mn-cs"/>
            </a:endParaRPr>
          </a:p>
        </p:txBody>
      </p:sp>
      <p:sp>
        <p:nvSpPr>
          <p:cNvPr id="4" name="Rectangle 5">
            <a:extLst>
              <a:ext uri="{FF2B5EF4-FFF2-40B4-BE49-F238E27FC236}">
                <a16:creationId xmlns:a16="http://schemas.microsoft.com/office/drawing/2014/main" id="{0B9C3D5B-4A1D-4C37-BB09-82679FC99078}"/>
              </a:ext>
            </a:extLst>
          </p:cNvPr>
          <p:cNvSpPr>
            <a:spLocks noChangeArrowheads="1"/>
          </p:cNvSpPr>
          <p:nvPr/>
        </p:nvSpPr>
        <p:spPr bwMode="auto">
          <a:xfrm>
            <a:off x="682367" y="5537121"/>
            <a:ext cx="1185389" cy="614086"/>
          </a:xfrm>
          <a:prstGeom prst="rect">
            <a:avLst/>
          </a:prstGeom>
          <a:solidFill>
            <a:srgbClr val="91ABD5"/>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Resour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Management</a:t>
            </a:r>
            <a:endParaRPr kumimoji="0" lang="en-US" sz="1372" b="0" i="0" u="none" strike="noStrike" kern="1200" cap="none" spc="0" normalizeH="0" baseline="0" noProof="0" dirty="0">
              <a:ln>
                <a:noFill/>
              </a:ln>
              <a:solidFill>
                <a:srgbClr val="FFFFFF"/>
              </a:solidFill>
              <a:effectLst/>
              <a:uLnTx/>
              <a:uFillTx/>
              <a:latin typeface="Segoe UI"/>
              <a:ea typeface="+mn-ea"/>
              <a:cs typeface="+mn-cs"/>
            </a:endParaRPr>
          </a:p>
        </p:txBody>
      </p:sp>
      <p:sp>
        <p:nvSpPr>
          <p:cNvPr id="49" name="Rectangle 5">
            <a:extLst>
              <a:ext uri="{FF2B5EF4-FFF2-40B4-BE49-F238E27FC236}">
                <a16:creationId xmlns:a16="http://schemas.microsoft.com/office/drawing/2014/main" id="{6846164B-E2AC-4AE4-963D-11275D5BB57E}"/>
              </a:ext>
            </a:extLst>
          </p:cNvPr>
          <p:cNvSpPr>
            <a:spLocks noChangeArrowheads="1"/>
          </p:cNvSpPr>
          <p:nvPr/>
        </p:nvSpPr>
        <p:spPr bwMode="auto">
          <a:xfrm rot="16200000">
            <a:off x="581872" y="2770391"/>
            <a:ext cx="2598014" cy="614086"/>
          </a:xfrm>
          <a:prstGeom prst="rect">
            <a:avLst/>
          </a:prstGeom>
          <a:solidFill>
            <a:schemeClr val="accent1"/>
          </a:solidFill>
          <a:ln>
            <a:solidFill>
              <a:schemeClr val="accent2">
                <a:lumMod val="50000"/>
              </a:schemeClr>
            </a:solidFill>
            <a:headEnd/>
            <a:tailEnd/>
          </a:ln>
          <a:effectLst>
            <a:outerShdw blurRad="63500" sx="102000" sy="102000" algn="ctr"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Database Engine</a:t>
            </a:r>
            <a:endParaRPr kumimoji="0" lang="en-US" sz="1372" b="0" i="0" u="none" strike="noStrike" kern="1200" cap="none" spc="0" normalizeH="0" baseline="0" noProof="0" dirty="0">
              <a:ln>
                <a:noFill/>
              </a:ln>
              <a:solidFill>
                <a:srgbClr val="FFFFFF"/>
              </a:solidFill>
              <a:effectLst/>
              <a:uLnTx/>
              <a:uFillTx/>
              <a:latin typeface="Segoe UI"/>
              <a:ea typeface="+mn-ea"/>
              <a:cs typeface="+mn-cs"/>
            </a:endParaRPr>
          </a:p>
        </p:txBody>
      </p:sp>
      <p:sp>
        <p:nvSpPr>
          <p:cNvPr id="51" name="Down Arrow 26">
            <a:extLst>
              <a:ext uri="{FF2B5EF4-FFF2-40B4-BE49-F238E27FC236}">
                <a16:creationId xmlns:a16="http://schemas.microsoft.com/office/drawing/2014/main" id="{80FB7214-A5FC-48CF-B466-28DC4D4C1520}"/>
              </a:ext>
            </a:extLst>
          </p:cNvPr>
          <p:cNvSpPr/>
          <p:nvPr/>
        </p:nvSpPr>
        <p:spPr>
          <a:xfrm>
            <a:off x="6376943" y="4334255"/>
            <a:ext cx="264692" cy="303350"/>
          </a:xfrm>
          <a:prstGeom prst="downArrow">
            <a:avLst/>
          </a:prstGeom>
          <a:solidFill>
            <a:srgbClr val="00B0F0"/>
          </a:solidFill>
          <a:effectLst>
            <a:glow rad="139700">
              <a:schemeClr val="accent1">
                <a:satMod val="175000"/>
                <a:alpha val="40000"/>
              </a:schemeClr>
            </a:glow>
            <a:outerShdw blurRad="57150" dist="19050" dir="5400000" algn="ctr" rotWithShape="0">
              <a:srgbClr val="000000">
                <a:alpha val="63000"/>
              </a:srgbClr>
            </a:outerShdw>
          </a:effectLst>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30708147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wo Main Functions of SQLOS</a:t>
            </a:r>
          </a:p>
        </p:txBody>
      </p:sp>
      <p:graphicFrame>
        <p:nvGraphicFramePr>
          <p:cNvPr id="2" name="Diagram 1">
            <a:extLst>
              <a:ext uri="{FF2B5EF4-FFF2-40B4-BE49-F238E27FC236}">
                <a16:creationId xmlns:a16="http://schemas.microsoft.com/office/drawing/2014/main" id="{073D7507-AD76-47BF-9D20-D4933FD9684F}"/>
              </a:ext>
            </a:extLst>
          </p:cNvPr>
          <p:cNvGraphicFramePr/>
          <p:nvPr>
            <p:extLst>
              <p:ext uri="{D42A27DB-BD31-4B8C-83A1-F6EECF244321}">
                <p14:modId xmlns:p14="http://schemas.microsoft.com/office/powerpoint/2010/main" val="4010773418"/>
              </p:ext>
            </p:extLst>
          </p:nvPr>
        </p:nvGraphicFramePr>
        <p:xfrm>
          <a:off x="612729" y="1131635"/>
          <a:ext cx="10966543" cy="536080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5595424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8907" y="377110"/>
            <a:ext cx="11654187" cy="461600"/>
          </a:xfrm>
        </p:spPr>
        <p:txBody>
          <a:bodyPr/>
          <a:lstStyle/>
          <a:p>
            <a:r>
              <a:rPr lang="en-US" dirty="0"/>
              <a:t>Dynamic Management Views and Functions</a:t>
            </a:r>
          </a:p>
        </p:txBody>
      </p:sp>
      <p:graphicFrame>
        <p:nvGraphicFramePr>
          <p:cNvPr id="48" name="Table 3">
            <a:extLst>
              <a:ext uri="{FF2B5EF4-FFF2-40B4-BE49-F238E27FC236}">
                <a16:creationId xmlns:a16="http://schemas.microsoft.com/office/drawing/2014/main" id="{49DE2E63-2593-4483-ACE8-C24F9C63DD6A}"/>
              </a:ext>
            </a:extLst>
          </p:cNvPr>
          <p:cNvGraphicFramePr>
            <a:graphicFrameLocks/>
          </p:cNvGraphicFramePr>
          <p:nvPr/>
        </p:nvGraphicFramePr>
        <p:xfrm>
          <a:off x="1081448" y="1166762"/>
          <a:ext cx="10165342" cy="5309334"/>
        </p:xfrm>
        <a:graphic>
          <a:graphicData uri="http://schemas.openxmlformats.org/drawingml/2006/table">
            <a:tbl>
              <a:tblPr firstRow="1" bandRow="1">
                <a:tableStyleId>{35758FB7-9AC5-4552-8A53-C91805E547FA}</a:tableStyleId>
              </a:tblPr>
              <a:tblGrid>
                <a:gridCol w="3178952">
                  <a:extLst>
                    <a:ext uri="{9D8B030D-6E8A-4147-A177-3AD203B41FA5}">
                      <a16:colId xmlns:a16="http://schemas.microsoft.com/office/drawing/2014/main" val="20000"/>
                    </a:ext>
                  </a:extLst>
                </a:gridCol>
                <a:gridCol w="6986390">
                  <a:extLst>
                    <a:ext uri="{9D8B030D-6E8A-4147-A177-3AD203B41FA5}">
                      <a16:colId xmlns:a16="http://schemas.microsoft.com/office/drawing/2014/main" val="20001"/>
                    </a:ext>
                  </a:extLst>
                </a:gridCol>
              </a:tblGrid>
              <a:tr h="884889">
                <a:tc>
                  <a:txBody>
                    <a:bodyPr/>
                    <a:lstStyle>
                      <a:lvl1pPr marL="0" algn="l" defTabSz="932742" rtl="0" eaLnBrk="1" latinLnBrk="0" hangingPunct="1">
                        <a:defRPr sz="1800" b="1" kern="1200">
                          <a:solidFill>
                            <a:schemeClr val="lt1"/>
                          </a:solidFill>
                          <a:latin typeface="Verdana"/>
                        </a:defRPr>
                      </a:lvl1pPr>
                      <a:lvl2pPr marL="466371" algn="l" defTabSz="932742" rtl="0" eaLnBrk="1" latinLnBrk="0" hangingPunct="1">
                        <a:defRPr sz="1800" b="1" kern="1200">
                          <a:solidFill>
                            <a:schemeClr val="lt1"/>
                          </a:solidFill>
                          <a:latin typeface="Verdana"/>
                        </a:defRPr>
                      </a:lvl2pPr>
                      <a:lvl3pPr marL="932742" algn="l" defTabSz="932742" rtl="0" eaLnBrk="1" latinLnBrk="0" hangingPunct="1">
                        <a:defRPr sz="1800" b="1" kern="1200">
                          <a:solidFill>
                            <a:schemeClr val="lt1"/>
                          </a:solidFill>
                          <a:latin typeface="Verdana"/>
                        </a:defRPr>
                      </a:lvl3pPr>
                      <a:lvl4pPr marL="1399113" algn="l" defTabSz="932742" rtl="0" eaLnBrk="1" latinLnBrk="0" hangingPunct="1">
                        <a:defRPr sz="1800" b="1" kern="1200">
                          <a:solidFill>
                            <a:schemeClr val="lt1"/>
                          </a:solidFill>
                          <a:latin typeface="Verdana"/>
                        </a:defRPr>
                      </a:lvl4pPr>
                      <a:lvl5pPr marL="1865484" algn="l" defTabSz="932742" rtl="0" eaLnBrk="1" latinLnBrk="0" hangingPunct="1">
                        <a:defRPr sz="1800" b="1" kern="1200">
                          <a:solidFill>
                            <a:schemeClr val="lt1"/>
                          </a:solidFill>
                          <a:latin typeface="Verdana"/>
                        </a:defRPr>
                      </a:lvl5pPr>
                      <a:lvl6pPr marL="2331856" algn="l" defTabSz="932742" rtl="0" eaLnBrk="1" latinLnBrk="0" hangingPunct="1">
                        <a:defRPr sz="1800" b="1" kern="1200">
                          <a:solidFill>
                            <a:schemeClr val="lt1"/>
                          </a:solidFill>
                          <a:latin typeface="Verdana"/>
                        </a:defRPr>
                      </a:lvl6pPr>
                      <a:lvl7pPr marL="2798226" algn="l" defTabSz="932742" rtl="0" eaLnBrk="1" latinLnBrk="0" hangingPunct="1">
                        <a:defRPr sz="1800" b="1" kern="1200">
                          <a:solidFill>
                            <a:schemeClr val="lt1"/>
                          </a:solidFill>
                          <a:latin typeface="Verdana"/>
                        </a:defRPr>
                      </a:lvl7pPr>
                      <a:lvl8pPr marL="3264597" algn="l" defTabSz="932742" rtl="0" eaLnBrk="1" latinLnBrk="0" hangingPunct="1">
                        <a:defRPr sz="1800" b="1" kern="1200">
                          <a:solidFill>
                            <a:schemeClr val="lt1"/>
                          </a:solidFill>
                          <a:latin typeface="Verdana"/>
                        </a:defRPr>
                      </a:lvl8pPr>
                      <a:lvl9pPr marL="3730969" algn="l" defTabSz="932742" rtl="0" eaLnBrk="1" latinLnBrk="0" hangingPunct="1">
                        <a:defRPr sz="1800" b="1" kern="1200">
                          <a:solidFill>
                            <a:schemeClr val="lt1"/>
                          </a:solidFill>
                          <a:latin typeface="Verdana"/>
                        </a:defRPr>
                      </a:lvl9pPr>
                    </a:lstStyle>
                    <a:p>
                      <a:r>
                        <a:rPr lang="en-AU" sz="2700" b="0" dirty="0">
                          <a:ln>
                            <a:solidFill>
                              <a:schemeClr val="bg1"/>
                            </a:solidFill>
                          </a:ln>
                        </a:rPr>
                        <a:t>Category</a:t>
                      </a:r>
                      <a:endParaRPr lang="en-AU" sz="2700" b="0" dirty="0">
                        <a:ln>
                          <a:solidFill>
                            <a:schemeClr val="bg1"/>
                          </a:solidFill>
                        </a:ln>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b="1" kern="1200">
                          <a:solidFill>
                            <a:schemeClr val="lt1"/>
                          </a:solidFill>
                          <a:latin typeface="Verdana"/>
                        </a:defRPr>
                      </a:lvl1pPr>
                      <a:lvl2pPr marL="466371" algn="l" defTabSz="932742" rtl="0" eaLnBrk="1" latinLnBrk="0" hangingPunct="1">
                        <a:defRPr sz="1800" b="1" kern="1200">
                          <a:solidFill>
                            <a:schemeClr val="lt1"/>
                          </a:solidFill>
                          <a:latin typeface="Verdana"/>
                        </a:defRPr>
                      </a:lvl2pPr>
                      <a:lvl3pPr marL="932742" algn="l" defTabSz="932742" rtl="0" eaLnBrk="1" latinLnBrk="0" hangingPunct="1">
                        <a:defRPr sz="1800" b="1" kern="1200">
                          <a:solidFill>
                            <a:schemeClr val="lt1"/>
                          </a:solidFill>
                          <a:latin typeface="Verdana"/>
                        </a:defRPr>
                      </a:lvl3pPr>
                      <a:lvl4pPr marL="1399113" algn="l" defTabSz="932742" rtl="0" eaLnBrk="1" latinLnBrk="0" hangingPunct="1">
                        <a:defRPr sz="1800" b="1" kern="1200">
                          <a:solidFill>
                            <a:schemeClr val="lt1"/>
                          </a:solidFill>
                          <a:latin typeface="Verdana"/>
                        </a:defRPr>
                      </a:lvl4pPr>
                      <a:lvl5pPr marL="1865484" algn="l" defTabSz="932742" rtl="0" eaLnBrk="1" latinLnBrk="0" hangingPunct="1">
                        <a:defRPr sz="1800" b="1" kern="1200">
                          <a:solidFill>
                            <a:schemeClr val="lt1"/>
                          </a:solidFill>
                          <a:latin typeface="Verdana"/>
                        </a:defRPr>
                      </a:lvl5pPr>
                      <a:lvl6pPr marL="2331856" algn="l" defTabSz="932742" rtl="0" eaLnBrk="1" latinLnBrk="0" hangingPunct="1">
                        <a:defRPr sz="1800" b="1" kern="1200">
                          <a:solidFill>
                            <a:schemeClr val="lt1"/>
                          </a:solidFill>
                          <a:latin typeface="Verdana"/>
                        </a:defRPr>
                      </a:lvl6pPr>
                      <a:lvl7pPr marL="2798226" algn="l" defTabSz="932742" rtl="0" eaLnBrk="1" latinLnBrk="0" hangingPunct="1">
                        <a:defRPr sz="1800" b="1" kern="1200">
                          <a:solidFill>
                            <a:schemeClr val="lt1"/>
                          </a:solidFill>
                          <a:latin typeface="Verdana"/>
                        </a:defRPr>
                      </a:lvl7pPr>
                      <a:lvl8pPr marL="3264597" algn="l" defTabSz="932742" rtl="0" eaLnBrk="1" latinLnBrk="0" hangingPunct="1">
                        <a:defRPr sz="1800" b="1" kern="1200">
                          <a:solidFill>
                            <a:schemeClr val="lt1"/>
                          </a:solidFill>
                          <a:latin typeface="Verdana"/>
                        </a:defRPr>
                      </a:lvl8pPr>
                      <a:lvl9pPr marL="3730969" algn="l" defTabSz="932742" rtl="0" eaLnBrk="1" latinLnBrk="0" hangingPunct="1">
                        <a:defRPr sz="1800" b="1" kern="1200">
                          <a:solidFill>
                            <a:schemeClr val="lt1"/>
                          </a:solidFill>
                          <a:latin typeface="Verdana"/>
                        </a:defRPr>
                      </a:lvl9pPr>
                    </a:lstStyle>
                    <a:p>
                      <a:r>
                        <a:rPr lang="en-AU" sz="2700" b="0" dirty="0">
                          <a:ln>
                            <a:solidFill>
                              <a:schemeClr val="bg1"/>
                            </a:solidFill>
                          </a:ln>
                        </a:rPr>
                        <a:t>Description</a:t>
                      </a:r>
                      <a:endParaRPr lang="en-AU" sz="2700" b="0" dirty="0">
                        <a:ln>
                          <a:solidFill>
                            <a:schemeClr val="bg1"/>
                          </a:solidFill>
                        </a:ln>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0"/>
                  </a:ext>
                </a:extLst>
              </a:tr>
              <a:tr h="884889">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sys.dm_exec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Execution and connection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1"/>
                  </a:ext>
                </a:extLst>
              </a:tr>
              <a:tr h="884889">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2400" dirty="0"/>
                        <a:t>sys.dm_os_%</a:t>
                      </a:r>
                      <a:endParaRPr lang="en-US"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Operating system related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2"/>
                  </a:ext>
                </a:extLst>
              </a:tr>
              <a:tr h="884889">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2400" dirty="0"/>
                        <a:t>sys.dm_tran_%</a:t>
                      </a:r>
                      <a:endParaRPr lang="en-US"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Transaction management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3"/>
                  </a:ext>
                </a:extLst>
              </a:tr>
              <a:tr h="884889">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sys.dm_io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I/O related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4"/>
                  </a:ext>
                </a:extLst>
              </a:tr>
              <a:tr h="884889">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sys.dm_db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Database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5"/>
                  </a:ext>
                </a:extLst>
              </a:tr>
            </a:tbl>
          </a:graphicData>
        </a:graphic>
      </p:graphicFrame>
    </p:spTree>
    <p:custDataLst>
      <p:tags r:id="rId1"/>
    </p:custDataLst>
    <p:extLst>
      <p:ext uri="{BB962C8B-B14F-4D97-AF65-F5344CB8AC3E}">
        <p14:creationId xmlns:p14="http://schemas.microsoft.com/office/powerpoint/2010/main" val="11806681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8080" y="66336"/>
            <a:ext cx="11655840" cy="461665"/>
          </a:xfrm>
        </p:spPr>
        <p:txBody>
          <a:bodyPr/>
          <a:lstStyle/>
          <a:p>
            <a:r>
              <a:rPr lang="en-US" dirty="0"/>
              <a:t>Using Dynamic Management Objects (DMOs)</a:t>
            </a:r>
          </a:p>
        </p:txBody>
      </p:sp>
      <p:sp>
        <p:nvSpPr>
          <p:cNvPr id="6" name="Content Placeholder 1">
            <a:extLst>
              <a:ext uri="{FF2B5EF4-FFF2-40B4-BE49-F238E27FC236}">
                <a16:creationId xmlns:a16="http://schemas.microsoft.com/office/drawing/2014/main" id="{AA90E196-1455-41F9-8748-6BEEAEE2FAF1}"/>
              </a:ext>
            </a:extLst>
          </p:cNvPr>
          <p:cNvSpPr txBox="1">
            <a:spLocks/>
          </p:cNvSpPr>
          <p:nvPr/>
        </p:nvSpPr>
        <p:spPr>
          <a:xfrm>
            <a:off x="729301" y="965873"/>
            <a:ext cx="7959550" cy="5046170"/>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GB" sz="3137" kern="0" dirty="0">
                <a:solidFill>
                  <a:srgbClr val="000000"/>
                </a:solidFill>
              </a:rPr>
              <a:t>Must reference using the sys schema</a:t>
            </a:r>
          </a:p>
          <a:p>
            <a:pPr lvl="0"/>
            <a:r>
              <a:rPr lang="en-GB" sz="3137" kern="0" dirty="0">
                <a:solidFill>
                  <a:srgbClr val="000000"/>
                </a:solidFill>
              </a:rPr>
              <a:t>Two basic types:</a:t>
            </a:r>
          </a:p>
          <a:p>
            <a:pPr lvl="1"/>
            <a:r>
              <a:rPr lang="en-GB" sz="3137" kern="0" dirty="0">
                <a:solidFill>
                  <a:srgbClr val="000000"/>
                </a:solidFill>
              </a:rPr>
              <a:t>Real-time state information</a:t>
            </a:r>
          </a:p>
          <a:p>
            <a:pPr lvl="1"/>
            <a:r>
              <a:rPr lang="en-GB" sz="3137" kern="0" dirty="0">
                <a:solidFill>
                  <a:srgbClr val="000000"/>
                </a:solidFill>
              </a:rPr>
              <a:t>Historical information</a:t>
            </a:r>
          </a:p>
        </p:txBody>
      </p:sp>
      <p:pic>
        <p:nvPicPr>
          <p:cNvPr id="2" name="Picture 1">
            <a:extLst>
              <a:ext uri="{FF2B5EF4-FFF2-40B4-BE49-F238E27FC236}">
                <a16:creationId xmlns:a16="http://schemas.microsoft.com/office/drawing/2014/main" id="{2821DC8B-6624-4553-8E5D-1AB713DD58B3}"/>
              </a:ext>
            </a:extLst>
          </p:cNvPr>
          <p:cNvPicPr>
            <a:picLocks noChangeAspect="1"/>
          </p:cNvPicPr>
          <p:nvPr/>
        </p:nvPicPr>
        <p:blipFill>
          <a:blip r:embed="rId4"/>
          <a:stretch>
            <a:fillRect/>
          </a:stretch>
        </p:blipFill>
        <p:spPr>
          <a:xfrm>
            <a:off x="1448485" y="3580808"/>
            <a:ext cx="9438612" cy="2636818"/>
          </a:xfrm>
          <a:prstGeom prst="rect">
            <a:avLst/>
          </a:prstGeom>
        </p:spPr>
      </p:pic>
    </p:spTree>
    <p:custDataLst>
      <p:tags r:id="rId1"/>
    </p:custDataLst>
    <p:extLst>
      <p:ext uri="{BB962C8B-B14F-4D97-AF65-F5344CB8AC3E}">
        <p14:creationId xmlns:p14="http://schemas.microsoft.com/office/powerpoint/2010/main" val="39547481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1.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COR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3.xml><?xml version="1.0" encoding="utf-8"?>
<a:theme xmlns:a="http://schemas.openxmlformats.org/drawingml/2006/main" name="1_CORE TEMPLATE">
  <a:themeElements>
    <a:clrScheme name="Custom 84">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4.xml><?xml version="1.0" encoding="utf-8"?>
<a:theme xmlns:a="http://schemas.openxmlformats.org/drawingml/2006/main" name="1_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5.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6.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CD086AF5-CCD3-41C8-B98A-2B159789D38E}">
  <ds:schemaRefs>
    <ds:schemaRef ds:uri="Strauss.PersonalizationDefinition"/>
  </ds:schemaRefs>
</ds:datastoreItem>
</file>

<file path=customXml/itemProps10.xml><?xml version="1.0" encoding="utf-8"?>
<ds:datastoreItem xmlns:ds="http://schemas.openxmlformats.org/officeDocument/2006/customXml" ds:itemID="{87292CEB-AF77-403C-9802-B061A48DC2AA}">
  <ds:schemaRefs>
    <ds:schemaRef ds:uri="Strauss.PersonalizationDefinition"/>
  </ds:schemaRefs>
</ds:datastoreItem>
</file>

<file path=customXml/itemProps11.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3.xml><?xml version="1.0" encoding="utf-8"?>
<ds:datastoreItem xmlns:ds="http://schemas.openxmlformats.org/officeDocument/2006/customXml" ds:itemID="{5BB47E17-DE1A-4C00-964B-F1BFEE1044D9}">
  <ds:schemaRefs>
    <ds:schemaRef ds:uri="Strauss.PersonalizationDefinition"/>
  </ds:schemaRefs>
</ds:datastoreItem>
</file>

<file path=customXml/itemProps4.xml><?xml version="1.0" encoding="utf-8"?>
<ds:datastoreItem xmlns:ds="http://schemas.openxmlformats.org/officeDocument/2006/customXml" ds:itemID="{BDFD65D9-C577-4BAB-8B75-A170169AA313}">
  <ds:schemaRefs>
    <ds:schemaRef ds:uri="Strauss.PersonalizationDefinition"/>
  </ds:schemaRefs>
</ds:datastoreItem>
</file>

<file path=customXml/itemProps5.xml><?xml version="1.0" encoding="utf-8"?>
<ds:datastoreItem xmlns:ds="http://schemas.openxmlformats.org/officeDocument/2006/customXml" ds:itemID="{BA761D3F-B287-49AD-B9B2-9D8EC532A1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75C05EC8-D295-4080-807A-6EA8C339A657}">
  <ds:schemaRefs>
    <ds:schemaRef ds:uri="Strauss.PersonalizationDefinition"/>
  </ds:schemaRefs>
</ds:datastoreItem>
</file>

<file path=customXml/itemProps7.xml><?xml version="1.0" encoding="utf-8"?>
<ds:datastoreItem xmlns:ds="http://schemas.openxmlformats.org/officeDocument/2006/customXml" ds:itemID="{9EEC7FED-AC7D-45C9-8F29-C2C8A7233C3D}">
  <ds:schemaRefs>
    <ds:schemaRef ds:uri="Strauss.PersonalizationDefinition"/>
  </ds:schemaRefs>
</ds:datastoreItem>
</file>

<file path=customXml/itemProps8.xml><?xml version="1.0" encoding="utf-8"?>
<ds:datastoreItem xmlns:ds="http://schemas.openxmlformats.org/officeDocument/2006/customXml" ds:itemID="{EBCC33FC-94BB-4B1D-A4C6-D2E6A3A4B1FD}">
  <ds:schemaRefs>
    <ds:schemaRef ds:uri="Strauss.PersonalizationDefinition"/>
  </ds:schemaRefs>
</ds:datastoreItem>
</file>

<file path=customXml/itemProps9.xml><?xml version="1.0" encoding="utf-8"?>
<ds:datastoreItem xmlns:ds="http://schemas.openxmlformats.org/officeDocument/2006/customXml" ds:itemID="{E0A5D147-904C-47A0-A34F-307F93D01848}">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801</TotalTime>
  <Words>9330</Words>
  <Application>Microsoft Office PowerPoint</Application>
  <PresentationFormat>Widescreen</PresentationFormat>
  <Paragraphs>710</Paragraphs>
  <Slides>36</Slides>
  <Notes>30</Notes>
  <HiddenSlides>1</HiddenSlides>
  <MMClips>0</MMClips>
  <ScaleCrop>false</ScaleCrop>
  <HeadingPairs>
    <vt:vector size="6" baseType="variant">
      <vt:variant>
        <vt:lpstr>Fonts Used</vt:lpstr>
      </vt:variant>
      <vt:variant>
        <vt:i4>12</vt:i4>
      </vt:variant>
      <vt:variant>
        <vt:lpstr>Theme</vt:lpstr>
      </vt:variant>
      <vt:variant>
        <vt:i4>5</vt:i4>
      </vt:variant>
      <vt:variant>
        <vt:lpstr>Slide Titles</vt:lpstr>
      </vt:variant>
      <vt:variant>
        <vt:i4>36</vt:i4>
      </vt:variant>
    </vt:vector>
  </HeadingPairs>
  <TitlesOfParts>
    <vt:vector size="53" baseType="lpstr">
      <vt:lpstr>Arial</vt:lpstr>
      <vt:lpstr>Calibri</vt:lpstr>
      <vt:lpstr>Calibri Light</vt:lpstr>
      <vt:lpstr>Century Gothic</vt:lpstr>
      <vt:lpstr>Comic Sans MS</vt:lpstr>
      <vt:lpstr>Consolas</vt:lpstr>
      <vt:lpstr>Lucida Console</vt:lpstr>
      <vt:lpstr>Segoe UI</vt:lpstr>
      <vt:lpstr>Segoe UI Light</vt:lpstr>
      <vt:lpstr>Segoe UI Semibold</vt:lpstr>
      <vt:lpstr>Verdana</vt:lpstr>
      <vt:lpstr>Wingdings</vt:lpstr>
      <vt:lpstr>Dark Blue</vt:lpstr>
      <vt:lpstr>CORE TEMPLATE</vt:lpstr>
      <vt:lpstr>1_CORE TEMPLATE</vt:lpstr>
      <vt:lpstr>1_PASS 2013_SpeakerTemplate_Final</vt:lpstr>
      <vt:lpstr>1_Dark Blue</vt:lpstr>
      <vt:lpstr>SQL Server Architecture</vt:lpstr>
      <vt:lpstr>PowerPoint Presentation</vt:lpstr>
      <vt:lpstr>Learning Units covered in this Module</vt:lpstr>
      <vt:lpstr>Lesson 1: Introduction to SQL Operating System</vt:lpstr>
      <vt:lpstr>Objectives</vt:lpstr>
      <vt:lpstr>Inside the Database Engine</vt:lpstr>
      <vt:lpstr>Two Main Functions of SQLOS</vt:lpstr>
      <vt:lpstr>Dynamic Management Views and Functions</vt:lpstr>
      <vt:lpstr>Using Dynamic Management Objects (DMOs)</vt:lpstr>
      <vt:lpstr>SQL Server Configuration</vt:lpstr>
      <vt:lpstr>Demonstration</vt:lpstr>
      <vt:lpstr>Questions?</vt:lpstr>
      <vt:lpstr>Lesson 2: Waits and Queues</vt:lpstr>
      <vt:lpstr>Objectives</vt:lpstr>
      <vt:lpstr>Microsoft SQL Server Scheduling Terminology</vt:lpstr>
      <vt:lpstr>Hierarchy of Common Terms</vt:lpstr>
      <vt:lpstr>Scheduling Types</vt:lpstr>
      <vt:lpstr>SQL Server Task Scheduling</vt:lpstr>
      <vt:lpstr>Waits and Queues</vt:lpstr>
      <vt:lpstr>Thread States and Queues</vt:lpstr>
      <vt:lpstr>Yielding</vt:lpstr>
      <vt:lpstr>Yielding </vt:lpstr>
      <vt:lpstr>Task Execution Model</vt:lpstr>
      <vt:lpstr>Task Execution Model</vt:lpstr>
      <vt:lpstr>Relevant Dynamic Management Views (DMVs)</vt:lpstr>
      <vt:lpstr>Waiting Tasks DMV</vt:lpstr>
      <vt:lpstr>Troubleshooting Wait Types</vt:lpstr>
      <vt:lpstr>Lesson 3: SQL Server Disk I/O</vt:lpstr>
      <vt:lpstr>SQL Server disk I/O patterns:</vt:lpstr>
      <vt:lpstr>SQL Server Disk I/O (Write-Ahead Logging)</vt:lpstr>
      <vt:lpstr>Log Buffer Flushing</vt:lpstr>
      <vt:lpstr>SQL Server Buffer Pool</vt:lpstr>
      <vt:lpstr>SET STATISTICS IO</vt:lpstr>
      <vt:lpstr>Total Query Response Time</vt:lpstr>
      <vt:lpstr>Checkpoin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id Treuling</dc:creator>
  <cp:lastModifiedBy>John Deardurff</cp:lastModifiedBy>
  <cp:revision>39</cp:revision>
  <dcterms:created xsi:type="dcterms:W3CDTF">2019-08-12T16:24:54Z</dcterms:created>
  <dcterms:modified xsi:type="dcterms:W3CDTF">2022-08-11T15:17: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vidt@microsoft.com</vt:lpwstr>
  </property>
  <property fmtid="{D5CDD505-2E9C-101B-9397-08002B2CF9AE}" pid="5" name="MSIP_Label_f42aa342-8706-4288-bd11-ebb85995028c_SetDate">
    <vt:lpwstr>2019-06-27T09:20:45.018717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bb6abfa-afa9-4829-b3dd-45bed72bf662</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